
<file path=[Content_Types].xml><?xml version="1.0" encoding="utf-8"?>
<Types xmlns="http://schemas.openxmlformats.org/package/2006/content-types">
  <Default Extension="vml" ContentType="application/vnd.openxmlformats-officedocument.vmlDrawing"/>
  <Default Extension="bin" ContentType="application/vnd.openxmlformats-officedocument.oleObject"/>
  <Default Extension="emf" ContentType="image/x-emf"/>
  <Default Extension="jpeg" ContentType="image/jpeg"/>
  <Default Extension="JPG" ContentType="image/.jpg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fonts/font1.fntdata" ContentType="application/x-fontdata"/>
  <Override PartName="/ppt/ink/ink1.xml" ContentType="application/inkml+xml"/>
  <Override PartName="/ppt/ink/ink10.xml" ContentType="application/inkml+xml"/>
  <Override PartName="/ppt/ink/ink11.xml" ContentType="application/inkml+xml"/>
  <Override PartName="/ppt/ink/ink12.xml" ContentType="application/inkml+xml"/>
  <Override PartName="/ppt/ink/ink13.xml" ContentType="application/inkml+xml"/>
  <Override PartName="/ppt/ink/ink14.xml" ContentType="application/inkml+xml"/>
  <Override PartName="/ppt/ink/ink15.xml" ContentType="application/inkml+xml"/>
  <Override PartName="/ppt/ink/ink16.xml" ContentType="application/inkml+xml"/>
  <Override PartName="/ppt/ink/ink17.xml" ContentType="application/inkml+xml"/>
  <Override PartName="/ppt/ink/ink18.xml" ContentType="application/inkml+xml"/>
  <Override PartName="/ppt/ink/ink19.xml" ContentType="application/inkml+xml"/>
  <Override PartName="/ppt/ink/ink2.xml" ContentType="application/inkml+xml"/>
  <Override PartName="/ppt/ink/ink20.xml" ContentType="application/inkml+xml"/>
  <Override PartName="/ppt/ink/ink21.xml" ContentType="application/inkml+xml"/>
  <Override PartName="/ppt/ink/ink22.xml" ContentType="application/inkml+xml"/>
  <Override PartName="/ppt/ink/ink23.xml" ContentType="application/inkml+xml"/>
  <Override PartName="/ppt/ink/ink24.xml" ContentType="application/inkml+xml"/>
  <Override PartName="/ppt/ink/ink25.xml" ContentType="application/inkml+xml"/>
  <Override PartName="/ppt/ink/ink26.xml" ContentType="application/inkml+xml"/>
  <Override PartName="/ppt/ink/ink27.xml" ContentType="application/inkml+xml"/>
  <Override PartName="/ppt/ink/ink28.xml" ContentType="application/inkml+xml"/>
  <Override PartName="/ppt/ink/ink29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ink/ink7.xml" ContentType="application/inkml+xml"/>
  <Override PartName="/ppt/ink/ink8.xml" ContentType="application/inkml+xml"/>
  <Override PartName="/ppt/ink/ink9.xml" ContentType="application/inkml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1"/>
  </p:sldMasterIdLst>
  <p:notesMasterIdLst>
    <p:notesMasterId r:id="rId4"/>
  </p:notesMasterIdLst>
  <p:sldIdLst>
    <p:sldId id="258" r:id="rId3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  <p:sldId id="268" r:id="rId14"/>
    <p:sldId id="269" r:id="rId15"/>
    <p:sldId id="270" r:id="rId16"/>
    <p:sldId id="271" r:id="rId17"/>
    <p:sldId id="272" r:id="rId18"/>
    <p:sldId id="276" r:id="rId19"/>
  </p:sldIdLst>
  <p:sldSz cx="18288000" cy="10287000"/>
  <p:notesSz cx="6858000" cy="9144000"/>
  <p:embeddedFontLst>
    <p:embeddedFont>
      <p:font typeface="Raleway" pitchFamily="2" charset="77"/>
      <p:regular r:id="rId23"/>
    </p:embeddedFont>
  </p:embeddedFontLst>
  <p:custDataLst>
    <p:tags r:id="rId24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400"/>
    <a:srgbClr val="8500EA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128"/>
    <p:restoredTop sz="94789"/>
  </p:normalViewPr>
  <p:slideViewPr>
    <p:cSldViewPr snapToGrid="0">
      <p:cViewPr varScale="1">
        <p:scale>
          <a:sx n="52" d="100"/>
          <a:sy n="52" d="100"/>
        </p:scale>
        <p:origin x="221" y="67"/>
      </p:cViewPr>
      <p:guideLst>
        <p:guide orient="horz" pos="655"/>
        <p:guide pos="58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4" Type="http://schemas.openxmlformats.org/officeDocument/2006/relationships/tags" Target="tags/tag21.xml"/><Relationship Id="rId23" Type="http://schemas.openxmlformats.org/officeDocument/2006/relationships/font" Target="fonts/font1.fntdata"/><Relationship Id="rId22" Type="http://schemas.openxmlformats.org/officeDocument/2006/relationships/tableStyles" Target="tableStyles.xml"/><Relationship Id="rId21" Type="http://schemas.openxmlformats.org/officeDocument/2006/relationships/viewProps" Target="viewProps.xml"/><Relationship Id="rId20" Type="http://schemas.openxmlformats.org/officeDocument/2006/relationships/presProps" Target="presProps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units="cm"/>
          <inkml:channel name="Y" type="integer" units="cm"/>
        </inkml:traceFormat>
        <inkml:channelProperties>
          <inkml:channelProperty channel="X" name="resolution" value="28.3464566929134" units="1/cm"/>
          <inkml:channelProperty channel="Y" name="resolution" value="28.3464566929134" units="1/cm"/>
        </inkml:channelProperties>
      </inkml:inkSource>
      <inkml:timestamp xml:id="ts0" timeString="2024-11-12T22:51:54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5349 10460 16383 0 0,'0'0'0'0'0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units="cm"/>
          <inkml:channel name="Y" type="integer" units="cm"/>
        </inkml:traceFormat>
        <inkml:channelProperties>
          <inkml:channelProperty channel="X" name="resolution" value="28.3464566929134" units="1/cm"/>
          <inkml:channelProperty channel="Y" name="resolution" value="28.3464566929134" units="1/cm"/>
        </inkml:channelProperties>
      </inkml:inkSource>
      <inkml:timestamp xml:id="ts0" timeString="2024-11-12T22:51:54"/>
    </inkml:context>
    <inkml:brush xml:id="br0">
      <inkml:brushProperty name="width" value="0.1" units="cm"/>
      <inkml:brushProperty name="height" value="0.1" units="cm"/>
      <inkml:brushProperty name="color" value="#ffffff"/>
    </inkml:brush>
  </inkml:definitions>
  <inkml:trace contextRef="#ctx0" brushRef="#br0">17641 8755 16383 0 0,'0'0'0'0'0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units="cm"/>
          <inkml:channel name="Y" type="integer" units="cm"/>
        </inkml:traceFormat>
        <inkml:channelProperties>
          <inkml:channelProperty channel="X" name="resolution" value="28.3464566929134" units="1/cm"/>
          <inkml:channelProperty channel="Y" name="resolution" value="28.3464566929134" units="1/cm"/>
        </inkml:channelProperties>
      </inkml:inkSource>
      <inkml:timestamp xml:id="ts0" timeString="2024-11-12T22:51:54"/>
    </inkml:context>
    <inkml:brush xml:id="br0">
      <inkml:brushProperty name="width" value="0.1" units="cm"/>
      <inkml:brushProperty name="height" value="0.1" units="cm"/>
      <inkml:brushProperty name="color" value="#ffffff"/>
    </inkml:brush>
  </inkml:definitions>
  <inkml:trace contextRef="#ctx0" brushRef="#br0">17641 8755 16383 0 0,'0'0'0'0'0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units="cm"/>
          <inkml:channel name="Y" type="integer" units="cm"/>
        </inkml:traceFormat>
        <inkml:channelProperties>
          <inkml:channelProperty channel="X" name="resolution" value="28.3464566929134" units="1/cm"/>
          <inkml:channelProperty channel="Y" name="resolution" value="28.3464566929134" units="1/cm"/>
        </inkml:channelProperties>
      </inkml:inkSource>
      <inkml:timestamp xml:id="ts0" timeString="2024-11-12T22:51:54"/>
    </inkml:context>
    <inkml:brush xml:id="br0">
      <inkml:brushProperty name="width" value="0.1" units="cm"/>
      <inkml:brushProperty name="height" value="0.1" units="cm"/>
      <inkml:brushProperty name="color" value="#ffffff"/>
    </inkml:brush>
  </inkml:definitions>
  <inkml:trace contextRef="#ctx0" brushRef="#br0">17641 8755 16383 0 0,'0'0'0'0'0</inkml:trace>
</inkml:ink>
</file>

<file path=ppt/ink/ink13.xml><?xml version="1.0" encoding="utf-8"?>
<inkml:ink xmlns:inkml="http://www.w3.org/2003/InkML">
  <inkml:definitions>
    <inkml:context xml:id="ctx0">
      <inkml:inkSource xml:id="inkSrc0">
        <inkml:traceFormat>
          <inkml:channel name="X" type="integer" units="cm"/>
          <inkml:channel name="Y" type="integer" units="cm"/>
        </inkml:traceFormat>
        <inkml:channelProperties>
          <inkml:channelProperty channel="X" name="resolution" value="28.3464566929134" units="1/cm"/>
          <inkml:channelProperty channel="Y" name="resolution" value="28.3464566929134" units="1/cm"/>
        </inkml:channelProperties>
      </inkml:inkSource>
      <inkml:timestamp xml:id="ts0" timeString="2024-11-12T22:51:54"/>
    </inkml:context>
    <inkml:brush xml:id="br0">
      <inkml:brushProperty name="width" value="0.1" units="cm"/>
      <inkml:brushProperty name="height" value="0.1" units="cm"/>
      <inkml:brushProperty name="color" value="#ffffff"/>
    </inkml:brush>
  </inkml:definitions>
  <inkml:trace contextRef="#ctx0" brushRef="#br0">17641 8755 16383 0 0,'0'0'0'0'0</inkml:trace>
</inkml:ink>
</file>

<file path=ppt/ink/ink14.xml><?xml version="1.0" encoding="utf-8"?>
<inkml:ink xmlns:inkml="http://www.w3.org/2003/InkML">
  <inkml:definitions>
    <inkml:context xml:id="ctx0">
      <inkml:inkSource xml:id="inkSrc0">
        <inkml:traceFormat>
          <inkml:channel name="X" type="integer" units="cm"/>
          <inkml:channel name="Y" type="integer" units="cm"/>
        </inkml:traceFormat>
        <inkml:channelProperties>
          <inkml:channelProperty channel="X" name="resolution" value="28.3464566929134" units="1/cm"/>
          <inkml:channelProperty channel="Y" name="resolution" value="28.3464566929134" units="1/cm"/>
        </inkml:channelProperties>
      </inkml:inkSource>
      <inkml:timestamp xml:id="ts0" timeString="2024-11-12T22:51:54"/>
    </inkml:context>
    <inkml:brush xml:id="br0">
      <inkml:brushProperty name="width" value="0.1" units="cm"/>
      <inkml:brushProperty name="height" value="0.1" units="cm"/>
      <inkml:brushProperty name="color" value="#ffffff"/>
    </inkml:brush>
  </inkml:definitions>
  <inkml:trace contextRef="#ctx0" brushRef="#br0">17641 8755 16383 0 0,'0'0'0'0'0</inkml:trace>
</inkml:ink>
</file>

<file path=ppt/ink/ink15.xml><?xml version="1.0" encoding="utf-8"?>
<inkml:ink xmlns:inkml="http://www.w3.org/2003/InkML">
  <inkml:definitions>
    <inkml:context xml:id="ctx0">
      <inkml:inkSource xml:id="inkSrc0">
        <inkml:traceFormat>
          <inkml:channel name="X" type="integer" units="cm"/>
          <inkml:channel name="Y" type="integer" units="cm"/>
        </inkml:traceFormat>
        <inkml:channelProperties>
          <inkml:channelProperty channel="X" name="resolution" value="28.3464566929134" units="1/cm"/>
          <inkml:channelProperty channel="Y" name="resolution" value="28.3464566929134" units="1/cm"/>
        </inkml:channelProperties>
      </inkml:inkSource>
      <inkml:timestamp xml:id="ts0" timeString="2024-11-12T22:51:54"/>
    </inkml:context>
    <inkml:brush xml:id="br0">
      <inkml:brushProperty name="width" value="0.1" units="cm"/>
      <inkml:brushProperty name="height" value="0.1" units="cm"/>
      <inkml:brushProperty name="color" value="#ffffff"/>
    </inkml:brush>
  </inkml:definitions>
  <inkml:trace contextRef="#ctx0" brushRef="#br0">3327 12522 16383 0 0,'0'0'0'0'0</inkml:trace>
</inkml:ink>
</file>

<file path=ppt/ink/ink16.xml><?xml version="1.0" encoding="utf-8"?>
<inkml:ink xmlns:inkml="http://www.w3.org/2003/InkML">
  <inkml:definitions>
    <inkml:context xml:id="ctx0">
      <inkml:inkSource xml:id="inkSrc0">
        <inkml:traceFormat>
          <inkml:channel name="X" type="integer" units="cm"/>
          <inkml:channel name="Y" type="integer" units="cm"/>
        </inkml:traceFormat>
        <inkml:channelProperties>
          <inkml:channelProperty channel="X" name="resolution" value="28.3464566929134" units="1/cm"/>
          <inkml:channelProperty channel="Y" name="resolution" value="28.3464566929134" units="1/cm"/>
        </inkml:channelProperties>
      </inkml:inkSource>
      <inkml:timestamp xml:id="ts0" timeString="2024-11-12T22:51:54"/>
    </inkml:context>
    <inkml:brush xml:id="br0">
      <inkml:brushProperty name="width" value="0.1" units="cm"/>
      <inkml:brushProperty name="height" value="0.1" units="cm"/>
      <inkml:brushProperty name="color" value="#ffffff"/>
    </inkml:brush>
  </inkml:definitions>
  <inkml:trace contextRef="#ctx0" brushRef="#br0">15108 12408 16383 0 0,'1'0'0'0'0,"1"0"0"0"0</inkml:trace>
</inkml:ink>
</file>

<file path=ppt/ink/ink17.xml><?xml version="1.0" encoding="utf-8"?>
<inkml:ink xmlns:inkml="http://www.w3.org/2003/InkML">
  <inkml:definitions>
    <inkml:context xml:id="ctx0">
      <inkml:inkSource xml:id="inkSrc0">
        <inkml:traceFormat>
          <inkml:channel name="X" type="integer" units="cm"/>
          <inkml:channel name="Y" type="integer" units="cm"/>
        </inkml:traceFormat>
        <inkml:channelProperties>
          <inkml:channelProperty channel="X" name="resolution" value="28.3464566929134" units="1/cm"/>
          <inkml:channelProperty channel="Y" name="resolution" value="28.3464566929134" units="1/cm"/>
        </inkml:channelProperties>
      </inkml:inkSource>
      <inkml:timestamp xml:id="ts0" timeString="2024-11-12T22:51:54"/>
    </inkml:context>
    <inkml:brush xml:id="br0">
      <inkml:brushProperty name="width" value="0.1" units="cm"/>
      <inkml:brushProperty name="height" value="0.1" units="cm"/>
      <inkml:brushProperty name="color" value="#ffffff"/>
    </inkml:brush>
  </inkml:definitions>
  <inkml:trace contextRef="#ctx0" brushRef="#br0">17554 7503 16383 0 0,'0'1'0'0'0,"0"1"0"0"0</inkml:trace>
</inkml:ink>
</file>

<file path=ppt/ink/ink18.xml><?xml version="1.0" encoding="utf-8"?>
<inkml:ink xmlns:inkml="http://www.w3.org/2003/InkML">
  <inkml:definitions>
    <inkml:context xml:id="ctx0">
      <inkml:inkSource xml:id="inkSrc0">
        <inkml:traceFormat>
          <inkml:channel name="X" type="integer" units="cm"/>
          <inkml:channel name="Y" type="integer" units="cm"/>
        </inkml:traceFormat>
        <inkml:channelProperties>
          <inkml:channelProperty channel="X" name="resolution" value="28.3464566929134" units="1/cm"/>
          <inkml:channelProperty channel="Y" name="resolution" value="28.3464566929134" units="1/cm"/>
        </inkml:channelProperties>
      </inkml:inkSource>
      <inkml:timestamp xml:id="ts0" timeString="2024-11-12T22:51:54"/>
    </inkml:context>
    <inkml:brush xml:id="br0">
      <inkml:brushProperty name="width" value="0.1" units="cm"/>
      <inkml:brushProperty name="height" value="0.1" units="cm"/>
      <inkml:brushProperty name="color" value="#ffffff"/>
    </inkml:brush>
  </inkml:definitions>
  <inkml:trace contextRef="#ctx0" brushRef="#br0">17554 7506 16383 0 0,'0'0'0'0'0</inkml:trace>
</inkml:ink>
</file>

<file path=ppt/ink/ink19.xml><?xml version="1.0" encoding="utf-8"?>
<inkml:ink xmlns:inkml="http://www.w3.org/2003/InkML">
  <inkml:definitions>
    <inkml:context xml:id="ctx0">
      <inkml:inkSource xml:id="inkSrc0">
        <inkml:traceFormat>
          <inkml:channel name="X" type="integer" units="cm"/>
          <inkml:channel name="Y" type="integer" units="cm"/>
        </inkml:traceFormat>
        <inkml:channelProperties>
          <inkml:channelProperty channel="X" name="resolution" value="28.3464566929134" units="1/cm"/>
          <inkml:channelProperty channel="Y" name="resolution" value="28.3464566929134" units="1/cm"/>
        </inkml:channelProperties>
      </inkml:inkSource>
      <inkml:timestamp xml:id="ts0" timeString="2024-11-12T22:51:54"/>
    </inkml:context>
    <inkml:brush xml:id="br0">
      <inkml:brushProperty name="width" value="0.1" units="cm"/>
      <inkml:brushProperty name="height" value="0.1" units="cm"/>
      <inkml:brushProperty name="color" value="#ffffff"/>
    </inkml:brush>
  </inkml:definitions>
  <inkml:trace contextRef="#ctx0" brushRef="#br0">17554 7506 16383 0 0,'0'0'0'0'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units="cm"/>
          <inkml:channel name="Y" type="integer" units="cm"/>
        </inkml:traceFormat>
        <inkml:channelProperties>
          <inkml:channelProperty channel="X" name="resolution" value="28.3464566929134" units="1/cm"/>
          <inkml:channelProperty channel="Y" name="resolution" value="28.3464566929134" units="1/cm"/>
        </inkml:channelProperties>
      </inkml:inkSource>
      <inkml:timestamp xml:id="ts0" timeString="2024-11-12T22:51:54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4766 15471 16383 0 0,'-1'0'0'0'0,"-5"0"0"0"0,-13 0 0 0 0,-18 0 0 0 0,-18 0 0 0 0,-10 0 0 0 0,10 0 0 0 0,28 0 0 0 0,37 0 0 0 0,34 0 0 0 0,24-2 0 0 0,12-3 0 0 0,3-1 0 0 0,0-1 0 0 0,0 1 0 0 0,0 3 0 0 0,5 0 0 0 0,8 2 0 0 0,3 0 0 0 0,-5 1 0 0 0,-9 0 0 0 0,-14 1 0 0 0,-18-1 0 0 0,-21 0 0 0 0,-21 2 0 0 0,-27 4 0 0 0,-31 3 0 0 0,-31 2 0 0 0,-24 1 0 0 0,-9-1 0 0 0,3-4 0 0 0,12-2 0 0 0,19 0 0 0 0,19-1 0 0 0,15 1 0 0 0,14 0 0 0 0,8 1 0 0 0,5 0 0 0 0,3-2 0 0 0,1-1 0 0 0,-3-1 0 0 0,-2-1 0 0 0,-4-1 0 0 0,-6 0 0 0 0,-1 0 0 0 0,-1-1 0 0 0,0 1 0 0 0,1 0 0 0 0,4 0 0 0 0,3-1 0 0 0,6-1 0 0 0,6-1 0 0 0,11 1 0 0 0,16-1 0 0 0,17 2 0 0 0,17 0 0 0 0,10 0 0 0 0,6 1 0 0 0,-2 0 0 0 0,-8 0 0 0 0,-8 0 0 0 0,-10 0 0 0 0,-9 0 0 0 0,-8 0 0 0 0,-3 0 0 0 0,-3 0 0 0 0,-1 0 0 0 0,-1 0 0 0 0,1 0 0 0 0,1 0 0 0 0,0 0 0 0 0,1 0 0 0 0,0 0 0 0 0,-1 0 0 0 0,0 0 0 0 0,-1 0 0 0 0,1 0 0 0 0,4 0 0 0 0,9 1 0 0 0,11 3 0 0 0,9 2 0 0 0,6 0 0 0 0,2-1 0 0 0,-1 0 0 0 0,-4 0 0 0 0,-5-1 0 0 0,-7-1 0 0 0,-4-1 0 0 0,-4-1 0 0 0,-2 0 0 0 0,-5-1 0 0 0,-3 0 0 0 0,-4 0 0 0 0,-3 0 0 0 0,-1-1 0 0 0,0 1 0 0 0,2 0 0 0 0,0 0 0 0 0,2 0 0 0 0,0 0 0 0 0,1 0 0 0 0,1 0 0 0 0,4 0 0 0 0,5 0 0 0 0,4 0 0 0 0,3 0 0 0 0,4 0 0 0 0,4 0 0 0 0,-1 0 0 0 0,-1 0 0 0 0,-2 0 0 0 0,-3 0 0 0 0,-3 0 0 0 0,-4 0 0 0 0,-3 0 0 0 0,-2 0 0 0 0,1 0 0 0 0,0 0 0 0 0,1 0 0 0 0,-1 0 0 0 0,2 0 0 0 0,2 0 0 0 0,2 0 0 0 0,5 0 0 0 0,4 0 0 0 0,3 0 0 0 0,1 0 0 0 0,-2 0 0 0 0,-3 0 0 0 0,-5 0 0 0 0,-2-1 0 0 0,-2-2 0 0 0,-3 0 0 0 0,-2 1 0 0 0,-1 0 0 0 0,-2 0 0 0 0,-1 2 0 0 0,0-2 0 0 0,0-1 0 0 0,1 0 0 0 0,0 0 0 0 0,2 0 0 0 0,3-1 0 0 0,3 0 0 0 0,3 1 0 0 0,3-1 0 0 0,2 0 0 0 0,2 0 0 0 0,2-2 0 0 0,4 1 0 0 0,10-1 0 0 0,16 0 0 0 0,15-1 0 0 0,10 0 0 0 0,3-1 0 0 0,-1 1 0 0 0,-7-1 0 0 0,-8 1 0 0 0,-10 1 0 0 0,-12 1 0 0 0,-13 1 0 0 0,-10 1 0 0 0,-9-1 0 0 0,-4 1 0 0 0,-3 1 0 0 0,-4 0 0 0 0,-1 1 0 0 0,-3 1 0 0 0,-1 0 0 0 0,0 0 0 0 0,0 0 0 0 0,2 0 0 0 0,1 0 0 0 0,0 0 0 0 0,2 0 0 0 0,2 0 0 0 0,1 0 0 0 0,0 0 0 0 0,0 0 0 0 0,-2 0 0 0 0,1 0 0 0 0,0 0 0 0 0,1 0 0 0 0,3 0 0 0 0,2 0 0 0 0,1 0 0 0 0,1 0 0 0 0,-1 0 0 0 0,-2 0 0 0 0,-1 0 0 0 0,-1 0 0 0 0,-1 0 0 0 0,0 0 0 0 0,-1 0 0 0 0,1 0 0 0 0,0 0 0 0 0,1 0 0 0 0,0 0 0 0 0,0 0 0 0 0,0 0 0 0 0,2 0 0 0 0,2 0 0 0 0,2 0 0 0 0,5 0 0 0 0,2 0 0 0 0,2 0 0 0 0,-2 0 0 0 0,-3 0 0 0 0,-4 0 0 0 0,-3 0 0 0 0,-6 0 0 0 0,-4 0 0 0 0,-4 1 0 0 0,-2 3 0 0 0,-3 2 0 0 0,-3 2 0 0 0,-3 4 0 0 0,-2 3 0 0 0,-1 2 0 0 0,-2 1 0 0 0,-3-1 0 0 0,-9 1 0 0 0,-11 0 0 0 0,-12 0 0 0 0,-12 1 0 0 0,-10-1 0 0 0,-6-1 0 0 0,-1-2 0 0 0,2 0 0 0 0,3-3 0 0 0,8-2 0 0 0,8-1 0 0 0,7-3 0 0 0,6-1 0 0 0,2-3 0 0 0,1 0 0 0 0,-1-2 0 0 0,0 0 0 0 0,-4 1 0 0 0,-9 2 0 0 0,-31 5 0 0 0,-43 7 0 0 0,-35 8 0 0 0,-19 4 0 0 0,8-2 0 0 0,25-5 0 0 0,34-6 0 0 0,32-5 0 0 0,26-4 0 0 0,19-4 0 0 0,12-1 0 0 0,7 0 0 0 0,2-2 0 0 0,-2 1 0 0 0,-1 0 0 0 0,-5 1 0 0 0,-4-1 0 0 0,-3 1 0 0 0,-2 0 0 0 0,-1 0 0 0 0,-1 0 0 0 0,0 0 0 0 0,-2 0 0 0 0,-2 0 0 0 0,-1 0 0 0 0,0-1 0 0 0,0-2 0 0 0,1-2 0 0 0,1-1 0 0 0,2-2 0 0 0,2 1 0 0 0,2 0 0 0 0,1 0 0 0 0,1 0 0 0 0,-1 0 0 0 0,0 0 0 0 0,-6 0 0 0 0,-7 0 0 0 0,-14 1 0 0 0,-28 1 0 0 0,-41 3 0 0 0,-44 0 0 0 0,-36 1 0 0 0,-19 1 0 0 0,5 0 0 0 0,25 1 0 0 0,33 0 0 0 0,35 3 0 0 0,28 2 0 0 0,18 1 0 0 0,11 2 0 0 0,9 1 0 0 0,6 0 0 0 0,3 0 0 0 0,0-1 0 0 0,-3-1 0 0 0,-3 1 0 0 0,-8 1 0 0 0,-8 1 0 0 0,-5-2 0 0 0,-3-3 0 0 0,-2-1 0 0 0,-2-3 0 0 0,1-1 0 0 0,2-1 0 0 0,6 0 0 0 0,9 0 0 0 0,10-1 0 0 0,10 1 0 0 0,10 0 0 0 0,7-2 0 0 0,5-1 0 0 0,3-4 0 0 0,-1-1 0 0 0,2-2 0 0 0,1-1 0 0 0,1 1 0 0 0,-2 1 0 0 0,-1 0 0 0 0,-3 0 0 0 0,-6 2 0 0 0,-12-2 0 0 0,-19-1 0 0 0,-24 1 0 0 0,-22-2 0 0 0,-12 0 0 0 0,-4 0 0 0 0,6 1 0 0 0,12 1 0 0 0,16 1 0 0 0,18 2 0 0 0,15 2 0 0 0,14 2 0 0 0,12 0 0 0 0</inkml:trace>
</inkml:ink>
</file>

<file path=ppt/ink/ink20.xml><?xml version="1.0" encoding="utf-8"?>
<inkml:ink xmlns:inkml="http://www.w3.org/2003/InkML">
  <inkml:definitions>
    <inkml:context xml:id="ctx0">
      <inkml:inkSource xml:id="inkSrc0">
        <inkml:traceFormat>
          <inkml:channel name="X" type="integer" units="cm"/>
          <inkml:channel name="Y" type="integer" units="cm"/>
        </inkml:traceFormat>
        <inkml:channelProperties>
          <inkml:channelProperty channel="X" name="resolution" value="28.3464566929134" units="1/cm"/>
          <inkml:channelProperty channel="Y" name="resolution" value="28.3464566929134" units="1/cm"/>
        </inkml:channelProperties>
      </inkml:inkSource>
      <inkml:timestamp xml:id="ts0" timeString="2024-11-12T22:51:54"/>
    </inkml:context>
    <inkml:brush xml:id="br0">
      <inkml:brushProperty name="width" value="0.1" units="cm"/>
      <inkml:brushProperty name="height" value="0.1" units="cm"/>
      <inkml:brushProperty name="color" value="#ffffff"/>
    </inkml:brush>
  </inkml:definitions>
  <inkml:trace contextRef="#ctx0" brushRef="#br0">17412 8306 16383 0 0,'1'2'0'0'0,"1"-1"0"0"0</inkml:trace>
</inkml:ink>
</file>

<file path=ppt/ink/ink21.xml><?xml version="1.0" encoding="utf-8"?>
<inkml:ink xmlns:inkml="http://www.w3.org/2003/InkML">
  <inkml:definitions>
    <inkml:context xml:id="ctx0">
      <inkml:inkSource xml:id="inkSrc0">
        <inkml:traceFormat>
          <inkml:channel name="X" type="integer" units="cm"/>
          <inkml:channel name="Y" type="integer" units="cm"/>
        </inkml:traceFormat>
        <inkml:channelProperties>
          <inkml:channelProperty channel="X" name="resolution" value="28.3464566929134" units="1/cm"/>
          <inkml:channelProperty channel="Y" name="resolution" value="28.3464566929134" units="1/cm"/>
        </inkml:channelProperties>
      </inkml:inkSource>
      <inkml:timestamp xml:id="ts0" timeString="2024-11-12T22:51:54"/>
    </inkml:context>
    <inkml:brush xml:id="br0">
      <inkml:brushProperty name="width" value="0.1" units="cm"/>
      <inkml:brushProperty name="height" value="0.1" units="cm"/>
      <inkml:brushProperty name="color" value="#ffffff"/>
    </inkml:brush>
  </inkml:definitions>
  <inkml:trace contextRef="#ctx0" brushRef="#br0">17415 8310 16383 0 0,'0'0'0'0'0</inkml:trace>
</inkml:ink>
</file>

<file path=ppt/ink/ink22.xml><?xml version="1.0" encoding="utf-8"?>
<inkml:ink xmlns:inkml="http://www.w3.org/2003/InkML">
  <inkml:definitions>
    <inkml:context xml:id="ctx0">
      <inkml:inkSource xml:id="inkSrc0">
        <inkml:traceFormat>
          <inkml:channel name="X" type="integer" units="cm"/>
          <inkml:channel name="Y" type="integer" units="cm"/>
        </inkml:traceFormat>
        <inkml:channelProperties>
          <inkml:channelProperty channel="X" name="resolution" value="28.3464566929134" units="1/cm"/>
          <inkml:channelProperty channel="Y" name="resolution" value="28.3464566929134" units="1/cm"/>
        </inkml:channelProperties>
      </inkml:inkSource>
      <inkml:timestamp xml:id="ts0" timeString="2024-11-12T22:51:54"/>
    </inkml:context>
    <inkml:brush xml:id="br0">
      <inkml:brushProperty name="width" value="0.1" units="cm"/>
      <inkml:brushProperty name="height" value="0.1" units="cm"/>
      <inkml:brushProperty name="color" value="#ffffff"/>
    </inkml:brush>
  </inkml:definitions>
  <inkml:trace contextRef="#ctx0" brushRef="#br0">17415 8310 16383 0 0,'0'0'0'0'0</inkml:trace>
</inkml:ink>
</file>

<file path=ppt/ink/ink23.xml><?xml version="1.0" encoding="utf-8"?>
<inkml:ink xmlns:inkml="http://www.w3.org/2003/InkML">
  <inkml:definitions>
    <inkml:context xml:id="ctx0">
      <inkml:inkSource xml:id="inkSrc0">
        <inkml:traceFormat>
          <inkml:channel name="X" type="integer" units="cm"/>
          <inkml:channel name="Y" type="integer" units="cm"/>
        </inkml:traceFormat>
        <inkml:channelProperties>
          <inkml:channelProperty channel="X" name="resolution" value="28.3464566929134" units="1/cm"/>
          <inkml:channelProperty channel="Y" name="resolution" value="28.3464566929134" units="1/cm"/>
        </inkml:channelProperties>
      </inkml:inkSource>
      <inkml:timestamp xml:id="ts0" timeString="2024-11-12T22:51:54"/>
    </inkml:context>
    <inkml:brush xml:id="br0">
      <inkml:brushProperty name="width" value="0.1" units="cm"/>
      <inkml:brushProperty name="height" value="0.1" units="cm"/>
      <inkml:brushProperty name="color" value="#ffffff"/>
    </inkml:brush>
  </inkml:definitions>
  <inkml:trace contextRef="#ctx0" brushRef="#br0">17415 8310 16383 0 0,'0'0'0'0'0</inkml:trace>
</inkml:ink>
</file>

<file path=ppt/ink/ink24.xml><?xml version="1.0" encoding="utf-8"?>
<inkml:ink xmlns:inkml="http://www.w3.org/2003/InkML">
  <inkml:definitions>
    <inkml:context xml:id="ctx0">
      <inkml:inkSource xml:id="inkSrc0">
        <inkml:traceFormat>
          <inkml:channel name="X" type="integer" units="cm"/>
          <inkml:channel name="Y" type="integer" units="cm"/>
        </inkml:traceFormat>
        <inkml:channelProperties>
          <inkml:channelProperty channel="X" name="resolution" value="28.3464566929134" units="1/cm"/>
          <inkml:channelProperty channel="Y" name="resolution" value="28.3464566929134" units="1/cm"/>
        </inkml:channelProperties>
      </inkml:inkSource>
      <inkml:timestamp xml:id="ts0" timeString="2024-11-12T22:51:54"/>
    </inkml:context>
    <inkml:brush xml:id="br0">
      <inkml:brushProperty name="width" value="0.1" units="cm"/>
      <inkml:brushProperty name="height" value="0.1" units="cm"/>
      <inkml:brushProperty name="color" value="#ffffff"/>
    </inkml:brush>
  </inkml:definitions>
  <inkml:trace contextRef="#ctx0" brushRef="#br0">17146 4861 16383 0 0,'0'0'0'0'0</inkml:trace>
</inkml:ink>
</file>

<file path=ppt/ink/ink25.xml><?xml version="1.0" encoding="utf-8"?>
<inkml:ink xmlns:inkml="http://www.w3.org/2003/InkML">
  <inkml:definitions>
    <inkml:context xml:id="ctx0">
      <inkml:inkSource xml:id="inkSrc0">
        <inkml:traceFormat>
          <inkml:channel name="X" type="integer" units="cm"/>
          <inkml:channel name="Y" type="integer" units="cm"/>
        </inkml:traceFormat>
        <inkml:channelProperties>
          <inkml:channelProperty channel="X" name="resolution" value="28.3464566929134" units="1/cm"/>
          <inkml:channelProperty channel="Y" name="resolution" value="28.3464566929134" units="1/cm"/>
        </inkml:channelProperties>
      </inkml:inkSource>
      <inkml:timestamp xml:id="ts0" timeString="2024-11-12T22:51:54"/>
    </inkml:context>
    <inkml:brush xml:id="br0">
      <inkml:brushProperty name="width" value="0.1" units="cm"/>
      <inkml:brushProperty name="height" value="0.1" units="cm"/>
      <inkml:brushProperty name="color" value="#ffffff"/>
    </inkml:brush>
  </inkml:definitions>
  <inkml:trace contextRef="#ctx0" brushRef="#br0">17009 5503 16383 0 0,'0'0'0'0'0</inkml:trace>
</inkml:ink>
</file>

<file path=ppt/ink/ink26.xml><?xml version="1.0" encoding="utf-8"?>
<inkml:ink xmlns:inkml="http://www.w3.org/2003/InkML">
  <inkml:definitions>
    <inkml:context xml:id="ctx0">
      <inkml:inkSource xml:id="inkSrc0">
        <inkml:traceFormat>
          <inkml:channel name="X" type="integer" units="cm"/>
          <inkml:channel name="Y" type="integer" units="cm"/>
        </inkml:traceFormat>
        <inkml:channelProperties>
          <inkml:channelProperty channel="X" name="resolution" value="28.3464566929134" units="1/cm"/>
          <inkml:channelProperty channel="Y" name="resolution" value="28.3464566929134" units="1/cm"/>
        </inkml:channelProperties>
      </inkml:inkSource>
      <inkml:timestamp xml:id="ts0" timeString="2024-11-12T22:51:54"/>
    </inkml:context>
    <inkml:brush xml:id="br0">
      <inkml:brushProperty name="width" value="0.1" units="cm"/>
      <inkml:brushProperty name="height" value="0.1" units="cm"/>
      <inkml:brushProperty name="color" value="#ffffff"/>
    </inkml:brush>
  </inkml:definitions>
  <inkml:trace contextRef="#ctx0" brushRef="#br0">17001 5857 16383 0 0,'0'0'0'0'0</inkml:trace>
</inkml:ink>
</file>

<file path=ppt/ink/ink27.xml><?xml version="1.0" encoding="utf-8"?>
<inkml:ink xmlns:inkml="http://www.w3.org/2003/InkML">
  <inkml:definitions>
    <inkml:context xml:id="ctx0">
      <inkml:inkSource xml:id="inkSrc0">
        <inkml:traceFormat>
          <inkml:channel name="X" type="integer" units="cm"/>
          <inkml:channel name="Y" type="integer" units="cm"/>
        </inkml:traceFormat>
        <inkml:channelProperties>
          <inkml:channelProperty channel="X" name="resolution" value="28.3464566929134" units="1/cm"/>
          <inkml:channelProperty channel="Y" name="resolution" value="28.3464566929134" units="1/cm"/>
        </inkml:channelProperties>
      </inkml:inkSource>
      <inkml:timestamp xml:id="ts0" timeString="2024-11-12T22:51:54"/>
    </inkml:context>
    <inkml:brush xml:id="br0">
      <inkml:brushProperty name="width" value="0.1" units="cm"/>
      <inkml:brushProperty name="height" value="0.1" units="cm"/>
      <inkml:brushProperty name="color" value="#ffffff"/>
    </inkml:brush>
  </inkml:definitions>
  <inkml:trace contextRef="#ctx0" brushRef="#br0">17354 5857 16383 0 0,'0'0'0'0'0</inkml:trace>
</inkml:ink>
</file>

<file path=ppt/ink/ink28.xml><?xml version="1.0" encoding="utf-8"?>
<inkml:ink xmlns:inkml="http://www.w3.org/2003/InkML">
  <inkml:definitions>
    <inkml:context xml:id="ctx0">
      <inkml:inkSource xml:id="inkSrc0">
        <inkml:traceFormat>
          <inkml:channel name="X" type="integer" units="cm"/>
          <inkml:channel name="Y" type="integer" units="cm"/>
        </inkml:traceFormat>
        <inkml:channelProperties>
          <inkml:channelProperty channel="X" name="resolution" value="28.3464566929134" units="1/cm"/>
          <inkml:channelProperty channel="Y" name="resolution" value="28.3464566929134" units="1/cm"/>
        </inkml:channelProperties>
      </inkml:inkSource>
      <inkml:timestamp xml:id="ts0" timeString="2024-11-12T22:51:54"/>
    </inkml:context>
    <inkml:brush xml:id="br0">
      <inkml:brushProperty name="width" value="0.1" units="cm"/>
      <inkml:brushProperty name="height" value="0.1" units="cm"/>
      <inkml:brushProperty name="color" value="#ffffff"/>
    </inkml:brush>
  </inkml:definitions>
  <inkml:trace contextRef="#ctx0" brushRef="#br0">17900 5244 16383 0 0,'0'2'0'0'0,"0"-1"0"0"0</inkml:trace>
</inkml:ink>
</file>

<file path=ppt/ink/ink29.xml><?xml version="1.0" encoding="utf-8"?>
<inkml:ink xmlns:inkml="http://www.w3.org/2003/InkML">
  <inkml:definitions>
    <inkml:context xml:id="ctx0">
      <inkml:inkSource xml:id="inkSrc0">
        <inkml:traceFormat>
          <inkml:channel name="X" type="integer" units="cm"/>
          <inkml:channel name="Y" type="integer" units="cm"/>
        </inkml:traceFormat>
        <inkml:channelProperties>
          <inkml:channelProperty channel="X" name="resolution" value="28.3464566929134" units="1/cm"/>
          <inkml:channelProperty channel="Y" name="resolution" value="28.3464566929134" units="1/cm"/>
        </inkml:channelProperties>
      </inkml:inkSource>
      <inkml:timestamp xml:id="ts0" timeString="2024-11-12T22:51:54"/>
    </inkml:context>
    <inkml:brush xml:id="br0">
      <inkml:brushProperty name="width" value="0.1" units="cm"/>
      <inkml:brushProperty name="height" value="0.1" units="cm"/>
      <inkml:brushProperty name="color" value="#ffffff"/>
    </inkml:brush>
  </inkml:definitions>
  <inkml:trace contextRef="#ctx0" brushRef="#br0">18010 6597 16383 0 0,'0'0'0'0'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units="cm"/>
          <inkml:channel name="Y" type="integer" units="cm"/>
        </inkml:traceFormat>
        <inkml:channelProperties>
          <inkml:channelProperty channel="X" name="resolution" value="28.3464566929134" units="1/cm"/>
          <inkml:channelProperty channel="Y" name="resolution" value="28.3464566929134" units="1/cm"/>
        </inkml:channelProperties>
      </inkml:inkSource>
      <inkml:timestamp xml:id="ts0" timeString="2024-11-12T22:51:54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8549 15770 16383 0 0,'-1'0'0'0'0,"-21"0"0"0"0,-41 0 0 0 0,-41 0 0 0 0,-30 0 0 0 0,-10 0 0 0 0,13 0 0 0 0,26 0 0 0 0,20 0 0 0 0,16 0 0 0 0,6 0 0 0 0,-4 0 0 0 0,-15 0 0 0 0,-21 0 0 0 0,-22 2 0 0 0,-13 1 0 0 0,-2 1 0 0 0,-1-1 0 0 0,1 0 0 0 0,-4-2 0 0 0,-9 0 0 0 0,1 0 0 0 0,11-1 0 0 0,19 0 0 0 0,26 0 0 0 0,25 0 0 0 0,22 0 0 0 0,18-1 0 0 0,11 1 0 0 0,8-1 0 0 0,5-1 0 0 0,3-3 0 0 0,1-3 0 0 0,1-3 0 0 0,2-4 0 0 0,0-3 0 0 0,0-3 0 0 0,1-5 0 0 0,2-2 0 0 0,10-3 0 0 0,12 0 0 0 0,12 4 0 0 0,8 4 0 0 0,3 5 0 0 0,-1 6 0 0 0,-3 4 0 0 0,-6 4 0 0 0,-5 3 0 0 0,-5 1 0 0 0,-5 1 0 0 0,-2 0 0 0 0,-4 0 0 0 0,-2 0 0 0 0,-2-1 0 0 0,-2 1 0 0 0,0-1 0 0 0,1 2 0 0 0,0 1 0 0 0,0 2 0 0 0,0 1 0 0 0,1 0 0 0 0,0 1 0 0 0,0 1 0 0 0,0-1 0 0 0,0 0 0 0 0,3 1 0 0 0,4 0 0 0 0,5 1 0 0 0,5 1 0 0 0,6 0 0 0 0,13-1 0 0 0,17-1 0 0 0,16 0 0 0 0,14-2 0 0 0,8-2 0 0 0,-1-1 0 0 0,-10-1 0 0 0,-15-1 0 0 0,-17-1 0 0 0,-14-1 0 0 0,-12 1 0 0 0,-7 0 0 0 0,-2-2 0 0 0,5-2 0 0 0,3-2 0 0 0,3-1 0 0 0,2-2 0 0 0,-3 1 0 0 0,-2 0 0 0 0,-4 2 0 0 0,-2 0 0 0 0,-2 2 0 0 0,-1 0 0 0 0,1 1 0 0 0,2 1 0 0 0,7 0 0 0 0,9-1 0 0 0,8 0 0 0 0,4 0 0 0 0,0 1 0 0 0,-3 1 0 0 0,-6 0 0 0 0,-5 0 0 0 0,-2 1 0 0 0,3 0 0 0 0,2 0 0 0 0,3 0 0 0 0,2 1 0 0 0,3-1 0 0 0,5 0 0 0 0,8 0 0 0 0,8 0 0 0 0,3 0 0 0 0,-3 0 0 0 0,-14 0 0 0 0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units="cm"/>
          <inkml:channel name="Y" type="integer" units="cm"/>
        </inkml:traceFormat>
        <inkml:channelProperties>
          <inkml:channelProperty channel="X" name="resolution" value="28.3464566929134" units="1/cm"/>
          <inkml:channelProperty channel="Y" name="resolution" value="28.3464566929134" units="1/cm"/>
        </inkml:channelProperties>
      </inkml:inkSource>
      <inkml:timestamp xml:id="ts0" timeString="2024-11-12T22:51:54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7889 14787 16383 0 0,'-4'0'0'0'0,"-19"0"0"0"0,-40 0 0 0 0,-47 0 0 0 0,-28 0 0 0 0,9 0 0 0 0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units="cm"/>
          <inkml:channel name="Y" type="integer" units="cm"/>
        </inkml:traceFormat>
        <inkml:channelProperties>
          <inkml:channelProperty channel="X" name="resolution" value="28.3464566929134" units="1/cm"/>
          <inkml:channelProperty channel="Y" name="resolution" value="28.3464566929134" units="1/cm"/>
        </inkml:channelProperties>
      </inkml:inkSource>
      <inkml:timestamp xml:id="ts0" timeString="2024-11-12T22:51:54"/>
    </inkml:context>
    <inkml:brush xml:id="br0">
      <inkml:brushProperty name="width" value="0.1" units="cm"/>
      <inkml:brushProperty name="height" value="0.1" units="cm"/>
      <inkml:brushProperty name="color" value="#ffffff"/>
    </inkml:brush>
  </inkml:definitions>
  <inkml:trace contextRef="#ctx0" brushRef="#br0">18345 9718 16383 0 0,'0'0'0'0'0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units="cm"/>
          <inkml:channel name="Y" type="integer" units="cm"/>
        </inkml:traceFormat>
        <inkml:channelProperties>
          <inkml:channelProperty channel="X" name="resolution" value="28.3464566929134" units="1/cm"/>
          <inkml:channelProperty channel="Y" name="resolution" value="28.3464566929134" units="1/cm"/>
        </inkml:channelProperties>
      </inkml:inkSource>
      <inkml:timestamp xml:id="ts0" timeString="2024-11-12T22:51:54"/>
    </inkml:context>
    <inkml:brush xml:id="br0">
      <inkml:brushProperty name="width" value="0.1" units="cm"/>
      <inkml:brushProperty name="height" value="0.1" units="cm"/>
      <inkml:brushProperty name="color" value="#ffffff"/>
    </inkml:brush>
  </inkml:definitions>
  <inkml:trace contextRef="#ctx0" brushRef="#br0">17099 9162 16383 0 0,'0'0'0'0'0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units="cm"/>
          <inkml:channel name="Y" type="integer" units="cm"/>
        </inkml:traceFormat>
        <inkml:channelProperties>
          <inkml:channelProperty channel="X" name="resolution" value="28.3464566929134" units="1/cm"/>
          <inkml:channelProperty channel="Y" name="resolution" value="28.3464566929134" units="1/cm"/>
        </inkml:channelProperties>
      </inkml:inkSource>
      <inkml:timestamp xml:id="ts0" timeString="2024-11-12T22:51:54"/>
    </inkml:context>
    <inkml:brush xml:id="br0">
      <inkml:brushProperty name="width" value="0.1" units="cm"/>
      <inkml:brushProperty name="height" value="0.1" units="cm"/>
      <inkml:brushProperty name="color" value="#ffffff"/>
    </inkml:brush>
  </inkml:definitions>
  <inkml:trace contextRef="#ctx0" brushRef="#br0">17099 9162 16383 0 0,'0'0'0'0'0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units="cm"/>
          <inkml:channel name="Y" type="integer" units="cm"/>
        </inkml:traceFormat>
        <inkml:channelProperties>
          <inkml:channelProperty channel="X" name="resolution" value="28.3464566929134" units="1/cm"/>
          <inkml:channelProperty channel="Y" name="resolution" value="28.3464566929134" units="1/cm"/>
        </inkml:channelProperties>
      </inkml:inkSource>
      <inkml:timestamp xml:id="ts0" timeString="2024-11-12T22:51:54"/>
    </inkml:context>
    <inkml:brush xml:id="br0">
      <inkml:brushProperty name="width" value="0.1" units="cm"/>
      <inkml:brushProperty name="height" value="0.1" units="cm"/>
      <inkml:brushProperty name="color" value="#ffffff"/>
    </inkml:brush>
  </inkml:definitions>
  <inkml:trace contextRef="#ctx0" brushRef="#br0">16258 7140 16383 0 0,'0'0'0'0'0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units="cm"/>
          <inkml:channel name="Y" type="integer" units="cm"/>
        </inkml:traceFormat>
        <inkml:channelProperties>
          <inkml:channelProperty channel="X" name="resolution" value="28.3464566929134" units="1/cm"/>
          <inkml:channelProperty channel="Y" name="resolution" value="28.3464566929134" units="1/cm"/>
        </inkml:channelProperties>
      </inkml:inkSource>
      <inkml:timestamp xml:id="ts0" timeString="2024-11-12T22:51:54"/>
    </inkml:context>
    <inkml:brush xml:id="br0">
      <inkml:brushProperty name="width" value="0.1" units="cm"/>
      <inkml:brushProperty name="height" value="0.1" units="cm"/>
      <inkml:brushProperty name="color" value="#ffffff"/>
    </inkml:brush>
  </inkml:definitions>
  <inkml:trace contextRef="#ctx0" brushRef="#br0">11189 7653 16383 0 0,'0'0'0'0'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/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0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10.bin"/><Relationship Id="rId2" Type="http://schemas.openxmlformats.org/officeDocument/2006/relationships/tags" Target="../tags/tag10.xml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1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11.bin"/><Relationship Id="rId2" Type="http://schemas.openxmlformats.org/officeDocument/2006/relationships/tags" Target="../tags/tag11.xml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2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12.bin"/><Relationship Id="rId2" Type="http://schemas.openxmlformats.org/officeDocument/2006/relationships/tags" Target="../tags/tag12.xml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3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13.bin"/><Relationship Id="rId2" Type="http://schemas.openxmlformats.org/officeDocument/2006/relationships/tags" Target="../tags/tag13.xml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4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14.bin"/><Relationship Id="rId2" Type="http://schemas.openxmlformats.org/officeDocument/2006/relationships/tags" Target="../tags/tag14.xml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5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15.bin"/><Relationship Id="rId2" Type="http://schemas.openxmlformats.org/officeDocument/2006/relationships/tags" Target="../tags/tag15.xml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6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16.bin"/><Relationship Id="rId2" Type="http://schemas.openxmlformats.org/officeDocument/2006/relationships/tags" Target="../tags/tag16.xml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7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17.bin"/><Relationship Id="rId2" Type="http://schemas.openxmlformats.org/officeDocument/2006/relationships/tags" Target="../tags/tag17.xml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8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18.bin"/><Relationship Id="rId2" Type="http://schemas.openxmlformats.org/officeDocument/2006/relationships/tags" Target="../tags/tag18.xml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9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19.bin"/><Relationship Id="rId2" Type="http://schemas.openxmlformats.org/officeDocument/2006/relationships/tags" Target="../tags/tag19.xml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2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2.bin"/><Relationship Id="rId2" Type="http://schemas.openxmlformats.org/officeDocument/2006/relationships/tags" Target="../tags/tag2.xml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3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3.bin"/><Relationship Id="rId2" Type="http://schemas.openxmlformats.org/officeDocument/2006/relationships/tags" Target="../tags/tag3.xml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4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4.bin"/><Relationship Id="rId2" Type="http://schemas.openxmlformats.org/officeDocument/2006/relationships/tags" Target="../tags/tag4.xml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5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5.bin"/><Relationship Id="rId2" Type="http://schemas.openxmlformats.org/officeDocument/2006/relationships/tags" Target="../tags/tag5.xml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6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6.bin"/><Relationship Id="rId2" Type="http://schemas.openxmlformats.org/officeDocument/2006/relationships/tags" Target="../tags/tag6.xml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7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7.bin"/><Relationship Id="rId2" Type="http://schemas.openxmlformats.org/officeDocument/2006/relationships/tags" Target="../tags/tag7.xml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8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8.bin"/><Relationship Id="rId2" Type="http://schemas.openxmlformats.org/officeDocument/2006/relationships/tags" Target="../tags/tag8.xml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9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9.bin"/><Relationship Id="rId2" Type="http://schemas.openxmlformats.org/officeDocument/2006/relationships/tags" Target="../tags/tag9.xm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 matchingName="FIRST_SLIDE_LAYOUT">
  <p:cSld name="1_FIRST_SLIDE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/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1828800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  <a:endParaRPr lang="en-AU" dirty="0"/>
          </a:p>
        </p:txBody>
      </p:sp>
      <p:sp>
        <p:nvSpPr>
          <p:cNvPr id="2" name="logo"/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  <a:endParaRPr lang="en-US" dirty="0"/>
          </a:p>
        </p:txBody>
      </p:sp>
      <p:sp>
        <p:nvSpPr>
          <p:cNvPr id="5" name="heading"/>
          <p:cNvSpPr txBox="1">
            <a:spLocks noGrp="1"/>
          </p:cNvSpPr>
          <p:nvPr>
            <p:ph type="title" hasCustomPrompt="1"/>
          </p:nvPr>
        </p:nvSpPr>
        <p:spPr>
          <a:xfrm>
            <a:off x="2109652" y="2882068"/>
            <a:ext cx="14068696" cy="18087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115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Smart Slides</a:t>
            </a:r>
            <a:endParaRPr dirty="0"/>
          </a:p>
        </p:txBody>
      </p:sp>
      <p:sp>
        <p:nvSpPr>
          <p:cNvPr id="6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2109652" y="4823012"/>
            <a:ext cx="14044090" cy="4435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Make Slides in a flash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 matchingName="HALF_WITH_IMAGE_RIGHT">
  <p:cSld name="HALF_TOP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_block"/>
          <p:cNvSpPr>
            <a:spLocks noGrp="1"/>
          </p:cNvSpPr>
          <p:nvPr>
            <p:ph sz="quarter" idx="10"/>
          </p:nvPr>
        </p:nvSpPr>
        <p:spPr>
          <a:xfrm>
            <a:off x="0" y="5143500"/>
            <a:ext cx="12239625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12239624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919074" y="5865222"/>
            <a:ext cx="10393359" cy="373597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075" y="2263775"/>
            <a:ext cx="10393358" cy="219392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/>
          <p:cNvSpPr>
            <a:spLocks noGrp="1"/>
          </p:cNvSpPr>
          <p:nvPr>
            <p:ph type="pic" idx="3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/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 matchingName="HALF_WITH_IMAGE_RIGHT">
  <p:cSld name="SMALL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_block"/>
          <p:cNvSpPr>
            <a:spLocks noGrp="1"/>
          </p:cNvSpPr>
          <p:nvPr>
            <p:ph sz="quarter" idx="10"/>
          </p:nvPr>
        </p:nvSpPr>
        <p:spPr>
          <a:xfrm>
            <a:off x="0" y="5143500"/>
            <a:ext cx="18287999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12239624" y="6375"/>
            <a:ext cx="6048375" cy="5137125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919074" y="5865222"/>
            <a:ext cx="10393359" cy="373597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075" y="2263775"/>
            <a:ext cx="10393358" cy="219392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/>
          <p:cNvSpPr>
            <a:spLocks noGrp="1"/>
          </p:cNvSpPr>
          <p:nvPr>
            <p:ph type="pic" idx="3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/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 matchingName="HALF_WITH_IMAGE_RIGHT">
  <p:cSld name="23RD_IMG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-30955" y="6375"/>
            <a:ext cx="1227058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12744450" y="4428564"/>
            <a:ext cx="4624475" cy="517263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12744450" y="2263775"/>
            <a:ext cx="4624475" cy="2164788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/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/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 matchingName="HALF_WITH_IMAGE_RIGHT">
  <p:cSld name="HALF_IMAGE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0" name="think-cell data - do not delete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-30955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879496" y="3708450"/>
            <a:ext cx="7489429" cy="58927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879496" y="2263774"/>
            <a:ext cx="7489429" cy="144467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/>
          <p:cNvSpPr>
            <a:spLocks noGrp="1"/>
          </p:cNvSpPr>
          <p:nvPr>
            <p:ph type="pic" idx="3" hasCustomPrompt="1"/>
          </p:nvPr>
        </p:nvSpPr>
        <p:spPr>
          <a:xfrm>
            <a:off x="16002000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3</a:t>
            </a:r>
            <a:endParaRPr lang="en-US" dirty="0"/>
          </a:p>
        </p:txBody>
      </p:sp>
      <p:sp>
        <p:nvSpPr>
          <p:cNvPr id="4" name="image_attribution"/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  <a:endParaRPr lang="en-US" dirty="0"/>
          </a:p>
        </p:txBody>
      </p:sp>
      <p:sp>
        <p:nvSpPr>
          <p:cNvPr id="5" name="background_block"/>
          <p:cNvSpPr>
            <a:spLocks noGrp="1"/>
          </p:cNvSpPr>
          <p:nvPr>
            <p:ph sz="quarter" idx="10" hasCustomPrompt="1"/>
          </p:nvPr>
        </p:nvSpPr>
        <p:spPr>
          <a:xfrm>
            <a:off x="17713842" y="0"/>
            <a:ext cx="57257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  <a:endParaRPr lang="en-AU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 matchingName="BASIC_LAYOUT">
  <p:cSld name="3_BLOCK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0</a:t>
            </a:r>
            <a:endParaRPr lang="en-US" dirty="0"/>
          </a:p>
        </p:txBody>
      </p:sp>
      <p:sp>
        <p:nvSpPr>
          <p:cNvPr id="22" name="background_block"/>
          <p:cNvSpPr>
            <a:spLocks noGrp="1"/>
          </p:cNvSpPr>
          <p:nvPr>
            <p:ph sz="quarter" idx="18"/>
          </p:nvPr>
        </p:nvSpPr>
        <p:spPr>
          <a:xfrm>
            <a:off x="0" y="9601200"/>
            <a:ext cx="18288000" cy="685799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5" name="content_3"/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6" name="image_3"/>
          <p:cNvSpPr>
            <a:spLocks noGrp="1"/>
          </p:cNvSpPr>
          <p:nvPr>
            <p:ph type="pic" sz="quarter" idx="22" hasCustomPrompt="1"/>
          </p:nvPr>
        </p:nvSpPr>
        <p:spPr>
          <a:xfrm>
            <a:off x="12661779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8</a:t>
            </a:r>
            <a:endParaRPr lang="en-AU" dirty="0"/>
          </a:p>
        </p:txBody>
      </p:sp>
      <p:sp>
        <p:nvSpPr>
          <p:cNvPr id="23" name="content_2"/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4" name="image_2"/>
          <p:cNvSpPr>
            <a:spLocks noGrp="1"/>
          </p:cNvSpPr>
          <p:nvPr>
            <p:ph type="pic" sz="quarter" idx="20" hasCustomPrompt="1"/>
          </p:nvPr>
        </p:nvSpPr>
        <p:spPr>
          <a:xfrm>
            <a:off x="7424406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2</a:t>
            </a:r>
            <a:endParaRPr lang="en-AU" dirty="0"/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6" name="image"/>
          <p:cNvSpPr>
            <a:spLocks noGrp="1"/>
          </p:cNvSpPr>
          <p:nvPr>
            <p:ph type="pic" sz="quarter" idx="12" hasCustomPrompt="1"/>
          </p:nvPr>
        </p:nvSpPr>
        <p:spPr>
          <a:xfrm>
            <a:off x="2223668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2</a:t>
            </a:r>
            <a:endParaRPr lang="en-AU"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2" name="image_attribution"/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 matchingName="BASIC_LAYOUT">
  <p:cSld name="3_BLOCK_LAYOUT_V2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2</a:t>
            </a:r>
            <a:endParaRPr lang="en-US" dirty="0"/>
          </a:p>
        </p:txBody>
      </p:sp>
      <p:sp>
        <p:nvSpPr>
          <p:cNvPr id="6" name="image"/>
          <p:cNvSpPr>
            <a:spLocks noGrp="1"/>
          </p:cNvSpPr>
          <p:nvPr>
            <p:ph type="pic" sz="quarter" idx="12" hasCustomPrompt="1"/>
          </p:nvPr>
        </p:nvSpPr>
        <p:spPr>
          <a:xfrm>
            <a:off x="931000" y="2747907"/>
            <a:ext cx="4656225" cy="2047037"/>
          </a:xfrm>
        </p:spPr>
        <p:txBody>
          <a:bodyPr/>
          <a:lstStyle/>
          <a:p>
            <a:r>
              <a:rPr lang="en-AU" dirty="0"/>
              <a:t>2</a:t>
            </a:r>
            <a:endParaRPr lang="en-AU" dirty="0"/>
          </a:p>
        </p:txBody>
      </p:sp>
      <p:sp>
        <p:nvSpPr>
          <p:cNvPr id="22" name="background_block"/>
          <p:cNvSpPr>
            <a:spLocks noGrp="1"/>
          </p:cNvSpPr>
          <p:nvPr>
            <p:ph sz="quarter" idx="18"/>
          </p:nvPr>
        </p:nvSpPr>
        <p:spPr>
          <a:xfrm>
            <a:off x="0" y="0"/>
            <a:ext cx="36195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5" name="content_3"/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6" name="image_3"/>
          <p:cNvSpPr>
            <a:spLocks noGrp="1"/>
          </p:cNvSpPr>
          <p:nvPr>
            <p:ph type="pic" sz="quarter" idx="22" hasCustomPrompt="1"/>
          </p:nvPr>
        </p:nvSpPr>
        <p:spPr>
          <a:xfrm>
            <a:off x="11357186" y="2747905"/>
            <a:ext cx="4644814" cy="2047037"/>
          </a:xfrm>
        </p:spPr>
        <p:txBody>
          <a:bodyPr/>
          <a:lstStyle/>
          <a:p>
            <a:r>
              <a:rPr lang="en-AU" dirty="0"/>
              <a:t>18</a:t>
            </a:r>
            <a:endParaRPr lang="en-AU" dirty="0"/>
          </a:p>
        </p:txBody>
      </p:sp>
      <p:sp>
        <p:nvSpPr>
          <p:cNvPr id="23" name="content_2"/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4" name="image_2"/>
          <p:cNvSpPr>
            <a:spLocks noGrp="1"/>
          </p:cNvSpPr>
          <p:nvPr>
            <p:ph type="pic" sz="quarter" idx="20" hasCustomPrompt="1"/>
          </p:nvPr>
        </p:nvSpPr>
        <p:spPr>
          <a:xfrm>
            <a:off x="6098390" y="2747906"/>
            <a:ext cx="4677648" cy="2047037"/>
          </a:xfrm>
        </p:spPr>
        <p:txBody>
          <a:bodyPr/>
          <a:lstStyle/>
          <a:p>
            <a:r>
              <a:rPr lang="en-AU" dirty="0"/>
              <a:t>12</a:t>
            </a:r>
            <a:endParaRPr lang="en-AU" dirty="0"/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 matchingName="BASIC_LAYOUT">
  <p:cSld name="4_BLOCK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content_4"/>
          <p:cNvSpPr txBox="1">
            <a:spLocks noGrp="1"/>
          </p:cNvSpPr>
          <p:nvPr>
            <p:ph type="body" idx="25" hasCustomPrompt="1"/>
          </p:nvPr>
        </p:nvSpPr>
        <p:spPr>
          <a:xfrm>
            <a:off x="13473932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5</a:t>
            </a:r>
            <a:endParaRPr dirty="0"/>
          </a:p>
        </p:txBody>
      </p:sp>
      <p:sp>
        <p:nvSpPr>
          <p:cNvPr id="22" name="image_4"/>
          <p:cNvSpPr>
            <a:spLocks noGrp="1"/>
          </p:cNvSpPr>
          <p:nvPr>
            <p:ph type="pic" sz="quarter" idx="26" hasCustomPrompt="1"/>
          </p:nvPr>
        </p:nvSpPr>
        <p:spPr>
          <a:xfrm>
            <a:off x="13473932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3</a:t>
            </a:r>
            <a:endParaRPr lang="en-AU" dirty="0"/>
          </a:p>
        </p:txBody>
      </p:sp>
      <p:sp>
        <p:nvSpPr>
          <p:cNvPr id="12" name="content_3"/>
          <p:cNvSpPr txBox="1">
            <a:spLocks noGrp="1"/>
          </p:cNvSpPr>
          <p:nvPr>
            <p:ph type="body" idx="22" hasCustomPrompt="1"/>
          </p:nvPr>
        </p:nvSpPr>
        <p:spPr>
          <a:xfrm>
            <a:off x="9288980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2</a:t>
            </a:r>
            <a:endParaRPr dirty="0"/>
          </a:p>
        </p:txBody>
      </p:sp>
      <p:sp>
        <p:nvSpPr>
          <p:cNvPr id="13" name="image_3"/>
          <p:cNvSpPr>
            <a:spLocks noGrp="1"/>
          </p:cNvSpPr>
          <p:nvPr>
            <p:ph type="pic" sz="quarter" idx="23" hasCustomPrompt="1"/>
          </p:nvPr>
        </p:nvSpPr>
        <p:spPr>
          <a:xfrm>
            <a:off x="9288980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0</a:t>
            </a:r>
            <a:endParaRPr lang="en-AU" dirty="0"/>
          </a:p>
        </p:txBody>
      </p:sp>
      <p:sp>
        <p:nvSpPr>
          <p:cNvPr id="2" name="content_2"/>
          <p:cNvSpPr txBox="1">
            <a:spLocks noGrp="1"/>
          </p:cNvSpPr>
          <p:nvPr>
            <p:ph type="body" idx="19" hasCustomPrompt="1"/>
          </p:nvPr>
        </p:nvSpPr>
        <p:spPr>
          <a:xfrm>
            <a:off x="5104028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5" name="image_2"/>
          <p:cNvSpPr>
            <a:spLocks noGrp="1"/>
          </p:cNvSpPr>
          <p:nvPr>
            <p:ph type="pic" sz="quarter" idx="20" hasCustomPrompt="1"/>
          </p:nvPr>
        </p:nvSpPr>
        <p:spPr>
          <a:xfrm>
            <a:off x="5104028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12</a:t>
            </a:r>
            <a:endParaRPr lang="en-AU" dirty="0"/>
          </a:p>
        </p:txBody>
      </p:sp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6</a:t>
            </a:r>
            <a:endParaRPr lang="en-US" dirty="0"/>
          </a:p>
        </p:txBody>
      </p:sp>
      <p:sp>
        <p:nvSpPr>
          <p:cNvPr id="6" name="image"/>
          <p:cNvSpPr>
            <a:spLocks noGrp="1"/>
          </p:cNvSpPr>
          <p:nvPr>
            <p:ph type="pic" sz="quarter" idx="12" hasCustomPrompt="1"/>
          </p:nvPr>
        </p:nvSpPr>
        <p:spPr>
          <a:xfrm>
            <a:off x="919076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</a:t>
            </a:r>
            <a:endParaRPr lang="en-AU" dirty="0"/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6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background_block"/>
          <p:cNvSpPr>
            <a:spLocks noGrp="1"/>
          </p:cNvSpPr>
          <p:nvPr>
            <p:ph sz="quarter" idx="10" hasCustomPrompt="1"/>
          </p:nvPr>
        </p:nvSpPr>
        <p:spPr>
          <a:xfrm>
            <a:off x="0" y="9887448"/>
            <a:ext cx="18286412" cy="399551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  <a:endParaRPr lang="en-AU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 matchingName="HALF_WITH_IMAGE_RIGHT">
  <p:cSld name="CHART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0" name="think-cell data - do not delete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3429000"/>
            <a:ext cx="4624475" cy="61722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6994357" y="1028700"/>
            <a:ext cx="10374479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/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  <a:endParaRPr lang="en-US" dirty="0"/>
          </a:p>
        </p:txBody>
      </p:sp>
      <p:sp>
        <p:nvSpPr>
          <p:cNvPr id="4" name="chart_attribution"/>
          <p:cNvSpPr>
            <a:spLocks noGrp="1"/>
          </p:cNvSpPr>
          <p:nvPr>
            <p:ph sz="quarter" idx="11" hasCustomPrompt="1"/>
          </p:nvPr>
        </p:nvSpPr>
        <p:spPr>
          <a:xfrm>
            <a:off x="6969124" y="9601200"/>
            <a:ext cx="10404476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  <a:endParaRPr lang="en-US" dirty="0"/>
          </a:p>
        </p:txBody>
      </p:sp>
      <p:sp>
        <p:nvSpPr>
          <p:cNvPr id="5" name="chart_heading"/>
          <p:cNvSpPr>
            <a:spLocks noGrp="1"/>
          </p:cNvSpPr>
          <p:nvPr>
            <p:ph sz="quarter" idx="12" hasCustomPrompt="1"/>
          </p:nvPr>
        </p:nvSpPr>
        <p:spPr>
          <a:xfrm>
            <a:off x="6994357" y="2263775"/>
            <a:ext cx="10399712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  <a:endParaRPr lang="en-GB" dirty="0"/>
          </a:p>
        </p:txBody>
      </p:sp>
      <p:sp>
        <p:nvSpPr>
          <p:cNvPr id="6" name="chart_background"/>
          <p:cNvSpPr>
            <a:spLocks noGrp="1"/>
          </p:cNvSpPr>
          <p:nvPr>
            <p:ph sz="quarter" idx="13"/>
          </p:nvPr>
        </p:nvSpPr>
        <p:spPr>
          <a:xfrm>
            <a:off x="6994357" y="3429000"/>
            <a:ext cx="10399712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7" name="background_block"/>
          <p:cNvSpPr>
            <a:spLocks noGrp="1"/>
          </p:cNvSpPr>
          <p:nvPr>
            <p:ph sz="quarter" idx="10" hasCustomPrompt="1"/>
          </p:nvPr>
        </p:nvSpPr>
        <p:spPr>
          <a:xfrm>
            <a:off x="17726546" y="0"/>
            <a:ext cx="559866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  <a:endParaRPr lang="en-AU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 matchingName="HALF_WITH_IMAGE_RIGHT">
  <p:cSld name="CHART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_block"/>
          <p:cNvSpPr>
            <a:spLocks noGrp="1"/>
          </p:cNvSpPr>
          <p:nvPr>
            <p:ph sz="quarter" idx="10" hasCustomPrompt="1"/>
          </p:nvPr>
        </p:nvSpPr>
        <p:spPr>
          <a:xfrm>
            <a:off x="0" y="9607550"/>
            <a:ext cx="18286412" cy="67945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  <a:endParaRPr lang="en-AU" dirty="0"/>
          </a:p>
        </p:txBody>
      </p:sp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12744450" y="3429000"/>
            <a:ext cx="4624475" cy="59182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163" y="1028700"/>
            <a:ext cx="14625637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/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5" name="chart_heading"/>
          <p:cNvSpPr>
            <a:spLocks noGrp="1"/>
          </p:cNvSpPr>
          <p:nvPr>
            <p:ph sz="quarter" idx="12" hasCustomPrompt="1"/>
          </p:nvPr>
        </p:nvSpPr>
        <p:spPr>
          <a:xfrm>
            <a:off x="919957" y="2263775"/>
            <a:ext cx="10399712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  <a:endParaRPr lang="en-GB" dirty="0"/>
          </a:p>
        </p:txBody>
      </p:sp>
      <p:sp>
        <p:nvSpPr>
          <p:cNvPr id="6" name="chart_background"/>
          <p:cNvSpPr>
            <a:spLocks noGrp="1"/>
          </p:cNvSpPr>
          <p:nvPr>
            <p:ph sz="quarter" idx="13"/>
          </p:nvPr>
        </p:nvSpPr>
        <p:spPr>
          <a:xfrm>
            <a:off x="919075" y="3429000"/>
            <a:ext cx="10399712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8" name="chart_attribution"/>
          <p:cNvSpPr>
            <a:spLocks noGrp="1"/>
          </p:cNvSpPr>
          <p:nvPr>
            <p:ph sz="quarter" idx="11" hasCustomPrompt="1"/>
          </p:nvPr>
        </p:nvSpPr>
        <p:spPr>
          <a:xfrm>
            <a:off x="12744450" y="9601200"/>
            <a:ext cx="46244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 matchingName="HALF_WITH_IMAGE_RIGHT">
  <p:cSld name="FULLPAGE_CHAR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163" y="1028700"/>
            <a:ext cx="14625637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/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5" name="chart_heading"/>
          <p:cNvSpPr>
            <a:spLocks noGrp="1"/>
          </p:cNvSpPr>
          <p:nvPr>
            <p:ph sz="quarter" idx="12" hasCustomPrompt="1"/>
          </p:nvPr>
        </p:nvSpPr>
        <p:spPr>
          <a:xfrm>
            <a:off x="919956" y="2263775"/>
            <a:ext cx="14624843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  <a:endParaRPr lang="en-GB" dirty="0"/>
          </a:p>
        </p:txBody>
      </p:sp>
      <p:sp>
        <p:nvSpPr>
          <p:cNvPr id="6" name="chart_background"/>
          <p:cNvSpPr>
            <a:spLocks noGrp="1"/>
          </p:cNvSpPr>
          <p:nvPr>
            <p:ph sz="quarter" idx="13"/>
          </p:nvPr>
        </p:nvSpPr>
        <p:spPr>
          <a:xfrm>
            <a:off x="919074" y="3429000"/>
            <a:ext cx="14625725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7" name="background_block"/>
          <p:cNvSpPr>
            <a:spLocks noGrp="1"/>
          </p:cNvSpPr>
          <p:nvPr>
            <p:ph sz="quarter" idx="10" hasCustomPrompt="1"/>
          </p:nvPr>
        </p:nvSpPr>
        <p:spPr>
          <a:xfrm>
            <a:off x="0" y="9607550"/>
            <a:ext cx="18286412" cy="67945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  <a:endParaRPr lang="en-AU" dirty="0"/>
          </a:p>
        </p:txBody>
      </p:sp>
      <p:sp>
        <p:nvSpPr>
          <p:cNvPr id="8" name="chart_attribution"/>
          <p:cNvSpPr>
            <a:spLocks noGrp="1"/>
          </p:cNvSpPr>
          <p:nvPr>
            <p:ph sz="quarter" idx="11" hasCustomPrompt="1"/>
          </p:nvPr>
        </p:nvSpPr>
        <p:spPr>
          <a:xfrm>
            <a:off x="12744450" y="9601200"/>
            <a:ext cx="46244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CHART_ATTRIBUTION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 matchingName="FIRST_SLIDE_LAYOUT">
  <p:cSld name="1st_Slide_FULL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/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1828800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  <a:endParaRPr lang="en-AU" dirty="0"/>
          </a:p>
        </p:txBody>
      </p:sp>
      <p:sp>
        <p:nvSpPr>
          <p:cNvPr id="5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29400" y="1027450"/>
            <a:ext cx="13969941" cy="18087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960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Smart Slides</a:t>
            </a:r>
            <a:endParaRPr dirty="0"/>
          </a:p>
        </p:txBody>
      </p:sp>
      <p:sp>
        <p:nvSpPr>
          <p:cNvPr id="6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29400" y="3429000"/>
            <a:ext cx="11310225" cy="4435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Make Slides in a flash</a:t>
            </a:r>
            <a:endParaRPr dirty="0"/>
          </a:p>
        </p:txBody>
      </p:sp>
      <p:sp>
        <p:nvSpPr>
          <p:cNvPr id="2" name="logo"/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 matchingName="BASIC_LAYOUT">
  <p:cSld name="BASIC_CONTEN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  <a:endParaRPr lang="en-US" dirty="0"/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4" y="2277035"/>
            <a:ext cx="13968341" cy="732419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Raleway" pitchFamily="2" charset="77"/>
                <a:ea typeface="Raleway" pitchFamily="2" charset="77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3968341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Raleway" pitchFamily="2" charset="77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background_block"/>
          <p:cNvSpPr>
            <a:spLocks noGrp="1"/>
          </p:cNvSpPr>
          <p:nvPr>
            <p:ph sz="quarter" idx="11" hasCustomPrompt="1"/>
          </p:nvPr>
        </p:nvSpPr>
        <p:spPr>
          <a:xfrm>
            <a:off x="17756372" y="0"/>
            <a:ext cx="531628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  <a:endParaRPr lang="en-AU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 matchingName="HALF_WITH_IMAGE_RIGHT">
  <p:cSld name="HALF_TEXT_HALF_COLOR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0" name="think-cell data - do not delete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879496" y="3708450"/>
            <a:ext cx="7489429" cy="58927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879496" y="2263774"/>
            <a:ext cx="7489429" cy="144467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/>
          <p:cNvSpPr>
            <a:spLocks noGrp="1"/>
          </p:cNvSpPr>
          <p:nvPr>
            <p:ph type="pic" idx="3" hasCustomPrompt="1"/>
          </p:nvPr>
        </p:nvSpPr>
        <p:spPr>
          <a:xfrm>
            <a:off x="16002000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3</a:t>
            </a:r>
            <a:endParaRPr lang="en-US" dirty="0"/>
          </a:p>
        </p:txBody>
      </p:sp>
      <p:sp>
        <p:nvSpPr>
          <p:cNvPr id="6" name="background_block"/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9113045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  <a:endParaRPr lang="en-AU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 matchingName="HALF_WITH_IMAGE_RIGHT">
  <p:cSld name="FULLPAGE_IMAGE_QUOTE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image"/>
          <p:cNvSpPr>
            <a:spLocks noGrp="1"/>
          </p:cNvSpPr>
          <p:nvPr>
            <p:ph type="pic" idx="12" hasCustomPrompt="1"/>
          </p:nvPr>
        </p:nvSpPr>
        <p:spPr>
          <a:xfrm>
            <a:off x="-1" y="6375"/>
            <a:ext cx="18288001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  <a:endParaRPr lang="en-AU" dirty="0"/>
          </a:p>
        </p:txBody>
      </p:sp>
      <p:sp>
        <p:nvSpPr>
          <p:cNvPr id="35" name="transparent_block"/>
          <p:cNvSpPr>
            <a:spLocks noGrp="1"/>
          </p:cNvSpPr>
          <p:nvPr>
            <p:ph type="pic" idx="2" hasCustomPrompt="1"/>
          </p:nvPr>
        </p:nvSpPr>
        <p:spPr>
          <a:xfrm>
            <a:off x="1" y="6375"/>
            <a:ext cx="18287999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  <a:endParaRPr lang="en-AU" dirty="0"/>
          </a:p>
        </p:txBody>
      </p:sp>
      <p:sp>
        <p:nvSpPr>
          <p:cNvPr id="3" name="logo"/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  <a:endParaRPr lang="en-US" dirty="0"/>
          </a:p>
        </p:txBody>
      </p:sp>
      <p:sp>
        <p:nvSpPr>
          <p:cNvPr id="6" name="image_attribution"/>
          <p:cNvSpPr>
            <a:spLocks noGrp="1"/>
          </p:cNvSpPr>
          <p:nvPr>
            <p:ph sz="quarter" idx="11" hasCustomPrompt="1"/>
          </p:nvPr>
        </p:nvSpPr>
        <p:spPr>
          <a:xfrm>
            <a:off x="-1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  <a:endParaRPr lang="en-US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2671483" y="5869292"/>
            <a:ext cx="13330518" cy="275907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76200" lvl="0" indent="0" algn="ctr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2671482" y="2263775"/>
            <a:ext cx="13330518" cy="287972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000"/>
              <a:buNone/>
              <a:defRPr sz="8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 matchingName="FIRST_SLIDE_LAYOUT">
  <p:cSld name="AGENDA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/>
          <p:cNvSpPr>
            <a:spLocks noGrp="1"/>
          </p:cNvSpPr>
          <p:nvPr>
            <p:ph sz="quarter" idx="10" hasCustomPrompt="1"/>
          </p:nvPr>
        </p:nvSpPr>
        <p:spPr>
          <a:xfrm>
            <a:off x="9862458" y="0"/>
            <a:ext cx="5055325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  <a:endParaRPr lang="en-AU" dirty="0"/>
          </a:p>
        </p:txBody>
      </p:sp>
      <p:sp>
        <p:nvSpPr>
          <p:cNvPr id="5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29401" y="2011363"/>
            <a:ext cx="8214600" cy="141763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4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6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29401" y="3747247"/>
            <a:ext cx="8214600" cy="50023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571500" lvl="0" indent="-571500" rtl="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7" name="logo"/>
          <p:cNvSpPr>
            <a:spLocks noGrp="1"/>
          </p:cNvSpPr>
          <p:nvPr>
            <p:ph type="pic" idx="2" hasCustomPrompt="1"/>
          </p:nvPr>
        </p:nvSpPr>
        <p:spPr>
          <a:xfrm>
            <a:off x="15544800" y="1027450"/>
            <a:ext cx="1828950" cy="18087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  <a:endParaRPr lang="en-US" dirty="0"/>
          </a:p>
        </p:txBody>
      </p:sp>
      <p:sp>
        <p:nvSpPr>
          <p:cNvPr id="2" name="image_attribution"/>
          <p:cNvSpPr>
            <a:spLocks noGrp="1"/>
          </p:cNvSpPr>
          <p:nvPr>
            <p:ph sz="quarter" idx="11" hasCustomPrompt="1"/>
          </p:nvPr>
        </p:nvSpPr>
        <p:spPr>
          <a:xfrm>
            <a:off x="9862458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 matchingName="BASIC_LAYOUT">
  <p:cSld name="MIDDLE_CONTEN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4831491" y="3207472"/>
            <a:ext cx="6499897" cy="192965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4831492" y="5149875"/>
            <a:ext cx="6499896" cy="445772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logo"/>
          <p:cNvSpPr>
            <a:spLocks noGrp="1"/>
          </p:cNvSpPr>
          <p:nvPr>
            <p:ph type="pic" idx="2"/>
          </p:nvPr>
        </p:nvSpPr>
        <p:spPr>
          <a:xfrm>
            <a:off x="4831491" y="102870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3" name="image"/>
          <p:cNvSpPr>
            <a:spLocks noGrp="1"/>
          </p:cNvSpPr>
          <p:nvPr>
            <p:ph type="pic" idx="10" hasCustomPrompt="1"/>
          </p:nvPr>
        </p:nvSpPr>
        <p:spPr>
          <a:xfrm>
            <a:off x="12239625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  <a:endParaRPr lang="en-AU" dirty="0"/>
          </a:p>
        </p:txBody>
      </p:sp>
      <p:sp>
        <p:nvSpPr>
          <p:cNvPr id="4" name="background_block"/>
          <p:cNvSpPr>
            <a:spLocks noGrp="1"/>
          </p:cNvSpPr>
          <p:nvPr>
            <p:ph sz="quarter" idx="11" hasCustomPrompt="1"/>
          </p:nvPr>
        </p:nvSpPr>
        <p:spPr>
          <a:xfrm>
            <a:off x="10926" y="0"/>
            <a:ext cx="4094909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  <a:endParaRPr lang="en-AU" dirty="0"/>
          </a:p>
        </p:txBody>
      </p:sp>
      <p:sp>
        <p:nvSpPr>
          <p:cNvPr id="6" name="image_attribution"/>
          <p:cNvSpPr>
            <a:spLocks noGrp="1"/>
          </p:cNvSpPr>
          <p:nvPr>
            <p:ph sz="quarter" idx="12" hasCustomPrompt="1"/>
          </p:nvPr>
        </p:nvSpPr>
        <p:spPr>
          <a:xfrm>
            <a:off x="12239625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 matchingName="HALF_WITH_IMAGE_RIGHT">
  <p:cSld name="HALF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9144000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3729318"/>
            <a:ext cx="7529186" cy="587188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19163" y="2263775"/>
            <a:ext cx="7529186" cy="146554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/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  <a:endParaRPr lang="en-US" dirty="0"/>
          </a:p>
        </p:txBody>
      </p:sp>
      <p:sp>
        <p:nvSpPr>
          <p:cNvPr id="4" name="image_attribution"/>
          <p:cNvSpPr>
            <a:spLocks noGrp="1"/>
          </p:cNvSpPr>
          <p:nvPr>
            <p:ph sz="quarter" idx="11" hasCustomPrompt="1"/>
          </p:nvPr>
        </p:nvSpPr>
        <p:spPr>
          <a:xfrm>
            <a:off x="914400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 matchingName="HALF_WITH_IMAGE_RIGHT">
  <p:cSld name="23RD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0" name="think-cell data - do not delete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6119813" y="6375"/>
            <a:ext cx="12168187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3</a:t>
            </a:r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4410635"/>
            <a:ext cx="4624475" cy="519056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19075" y="2263775"/>
            <a:ext cx="4624475" cy="214685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/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  <a:endParaRPr lang="en-US" dirty="0"/>
          </a:p>
        </p:txBody>
      </p:sp>
      <p:sp>
        <p:nvSpPr>
          <p:cNvPr id="4" name="image_attribution"/>
          <p:cNvSpPr>
            <a:spLocks noGrp="1"/>
          </p:cNvSpPr>
          <p:nvPr>
            <p:ph sz="quarter" idx="11" hasCustomPrompt="1"/>
          </p:nvPr>
        </p:nvSpPr>
        <p:spPr>
          <a:xfrm>
            <a:off x="6119813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4" Type="http://schemas.openxmlformats.org/officeDocument/2006/relationships/theme" Target="../theme/theme1.xml"/><Relationship Id="rId23" Type="http://schemas.openxmlformats.org/officeDocument/2006/relationships/vmlDrawing" Target="../drawings/vmlDrawing20.vml"/><Relationship Id="rId22" Type="http://schemas.openxmlformats.org/officeDocument/2006/relationships/image" Target="../media/image1.emf"/><Relationship Id="rId21" Type="http://schemas.openxmlformats.org/officeDocument/2006/relationships/oleObject" Target="../embeddings/oleObject20.bin"/><Relationship Id="rId20" Type="http://schemas.openxmlformats.org/officeDocument/2006/relationships/tags" Target="../tags/tag20.xml"/><Relationship Id="rId2" Type="http://schemas.openxmlformats.org/officeDocument/2006/relationships/slideLayout" Target="../slideLayouts/slideLayout2.xml"/><Relationship Id="rId19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20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21" imgW="0" imgH="0" progId="TCLayout.ActiveDocument.1">
                  <p:embed/>
                </p:oleObj>
              </mc:Choice>
              <mc:Fallback>
                <p:oleObj name="think-cell Slide" r:id="rId21" imgW="0" imgH="0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4800"/>
              <a:buFont typeface="Calibri"/>
              <a:buNone/>
              <a:defRPr sz="4800">
                <a:latin typeface="Calibri"/>
                <a:ea typeface="Calibri"/>
                <a:cs typeface="Calibri"/>
                <a:sym typeface="Calibri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919075" y="2464225"/>
            <a:ext cx="14625600" cy="707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 err="1"/>
              <a:t>asd</a:t>
            </a:r>
            <a:endParaRPr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931000" y="9601200"/>
            <a:ext cx="51888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mart Slides GPT Plugin</a:t>
            </a:r>
            <a:endParaRPr lang="en-US" dirty="0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</p:sldLayoutIdLst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28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3.xml"/><Relationship Id="rId1" Type="http://schemas.openxmlformats.org/officeDocument/2006/relationships/image" Target="../media/image14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2.xml"/><Relationship Id="rId1" Type="http://schemas.openxmlformats.org/officeDocument/2006/relationships/image" Target="../media/image15.jpeg"/></Relationships>
</file>

<file path=ppt/slides/_rels/slide12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8.xml"/><Relationship Id="rId3" Type="http://schemas.openxmlformats.org/officeDocument/2006/relationships/image" Target="../media/image17.png"/><Relationship Id="rId2" Type="http://schemas.openxmlformats.org/officeDocument/2006/relationships/customXml" Target="../ink/ink4.xml"/><Relationship Id="rId1" Type="http://schemas.openxmlformats.org/officeDocument/2006/relationships/image" Target="../media/image16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3.xml"/><Relationship Id="rId1" Type="http://schemas.openxmlformats.org/officeDocument/2006/relationships/image" Target="../media/image18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19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20.jpeg"/></Relationships>
</file>

<file path=ppt/slides/_rels/slide16.xml.rels><?xml version="1.0" encoding="UTF-8" standalone="yes"?>
<Relationships xmlns="http://schemas.openxmlformats.org/package/2006/relationships"><Relationship Id="rId9" Type="http://schemas.openxmlformats.org/officeDocument/2006/relationships/customXml" Target="../ink/ink11.xml"/><Relationship Id="rId8" Type="http://schemas.openxmlformats.org/officeDocument/2006/relationships/customXml" Target="../ink/ink10.xml"/><Relationship Id="rId7" Type="http://schemas.openxmlformats.org/officeDocument/2006/relationships/customXml" Target="../ink/ink9.xml"/><Relationship Id="rId6" Type="http://schemas.openxmlformats.org/officeDocument/2006/relationships/customXml" Target="../ink/ink8.xml"/><Relationship Id="rId5" Type="http://schemas.openxmlformats.org/officeDocument/2006/relationships/customXml" Target="../ink/ink7.xml"/><Relationship Id="rId4" Type="http://schemas.openxmlformats.org/officeDocument/2006/relationships/customXml" Target="../ink/ink6.xml"/><Relationship Id="rId32" Type="http://schemas.openxmlformats.org/officeDocument/2006/relationships/notesSlide" Target="../notesSlides/notesSlide16.xml"/><Relationship Id="rId31" Type="http://schemas.openxmlformats.org/officeDocument/2006/relationships/slideLayout" Target="../slideLayouts/slideLayout7.xml"/><Relationship Id="rId30" Type="http://schemas.openxmlformats.org/officeDocument/2006/relationships/customXml" Target="../ink/ink29.xml"/><Relationship Id="rId3" Type="http://schemas.openxmlformats.org/officeDocument/2006/relationships/image" Target="../media/image22.png"/><Relationship Id="rId29" Type="http://schemas.openxmlformats.org/officeDocument/2006/relationships/customXml" Target="../ink/ink28.xml"/><Relationship Id="rId28" Type="http://schemas.openxmlformats.org/officeDocument/2006/relationships/customXml" Target="../ink/ink27.xml"/><Relationship Id="rId27" Type="http://schemas.openxmlformats.org/officeDocument/2006/relationships/customXml" Target="../ink/ink26.xml"/><Relationship Id="rId26" Type="http://schemas.openxmlformats.org/officeDocument/2006/relationships/customXml" Target="../ink/ink25.xml"/><Relationship Id="rId25" Type="http://schemas.openxmlformats.org/officeDocument/2006/relationships/customXml" Target="../ink/ink24.xml"/><Relationship Id="rId24" Type="http://schemas.openxmlformats.org/officeDocument/2006/relationships/customXml" Target="../ink/ink23.xml"/><Relationship Id="rId23" Type="http://schemas.openxmlformats.org/officeDocument/2006/relationships/customXml" Target="../ink/ink22.xml"/><Relationship Id="rId22" Type="http://schemas.openxmlformats.org/officeDocument/2006/relationships/customXml" Target="../ink/ink21.xml"/><Relationship Id="rId21" Type="http://schemas.openxmlformats.org/officeDocument/2006/relationships/image" Target="../media/image25.png"/><Relationship Id="rId20" Type="http://schemas.openxmlformats.org/officeDocument/2006/relationships/customXml" Target="../ink/ink20.xml"/><Relationship Id="rId2" Type="http://schemas.openxmlformats.org/officeDocument/2006/relationships/customXml" Target="../ink/ink5.xml"/><Relationship Id="rId19" Type="http://schemas.openxmlformats.org/officeDocument/2006/relationships/customXml" Target="../ink/ink19.xml"/><Relationship Id="rId18" Type="http://schemas.openxmlformats.org/officeDocument/2006/relationships/customXml" Target="../ink/ink18.xml"/><Relationship Id="rId17" Type="http://schemas.openxmlformats.org/officeDocument/2006/relationships/image" Target="../media/image24.png"/><Relationship Id="rId16" Type="http://schemas.openxmlformats.org/officeDocument/2006/relationships/customXml" Target="../ink/ink17.xml"/><Relationship Id="rId15" Type="http://schemas.openxmlformats.org/officeDocument/2006/relationships/image" Target="../media/image23.png"/><Relationship Id="rId14" Type="http://schemas.openxmlformats.org/officeDocument/2006/relationships/customXml" Target="../ink/ink16.xml"/><Relationship Id="rId13" Type="http://schemas.openxmlformats.org/officeDocument/2006/relationships/customXml" Target="../ink/ink15.xml"/><Relationship Id="rId12" Type="http://schemas.openxmlformats.org/officeDocument/2006/relationships/customXml" Target="../ink/ink14.xml"/><Relationship Id="rId11" Type="http://schemas.openxmlformats.org/officeDocument/2006/relationships/customXml" Target="../ink/ink13.xml"/><Relationship Id="rId10" Type="http://schemas.openxmlformats.org/officeDocument/2006/relationships/customXml" Target="../ink/ink12.xml"/><Relationship Id="rId1" Type="http://schemas.openxmlformats.org/officeDocument/2006/relationships/image" Target="../media/image2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3.xml"/><Relationship Id="rId1" Type="http://schemas.openxmlformats.org/officeDocument/2006/relationships/image" Target="../media/image3.jpeg"/></Relationships>
</file>

<file path=ppt/slides/_rels/slide3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3.xml"/><Relationship Id="rId8" Type="http://schemas.openxmlformats.org/officeDocument/2006/relationships/slideLayout" Target="../slideLayouts/slideLayout8.xml"/><Relationship Id="rId7" Type="http://schemas.openxmlformats.org/officeDocument/2006/relationships/image" Target="../media/image7.png"/><Relationship Id="rId6" Type="http://schemas.openxmlformats.org/officeDocument/2006/relationships/customXml" Target="../ink/ink3.xml"/><Relationship Id="rId5" Type="http://schemas.openxmlformats.org/officeDocument/2006/relationships/image" Target="../media/image6.png"/><Relationship Id="rId4" Type="http://schemas.openxmlformats.org/officeDocument/2006/relationships/customXml" Target="../ink/ink2.xml"/><Relationship Id="rId3" Type="http://schemas.openxmlformats.org/officeDocument/2006/relationships/image" Target="../media/image5.png"/><Relationship Id="rId2" Type="http://schemas.openxmlformats.org/officeDocument/2006/relationships/customXml" Target="../ink/ink1.xml"/><Relationship Id="rId1" Type="http://schemas.openxmlformats.org/officeDocument/2006/relationships/image" Target="../media/image4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3.xml"/><Relationship Id="rId1" Type="http://schemas.openxmlformats.org/officeDocument/2006/relationships/image" Target="../media/image8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9.xml"/><Relationship Id="rId1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3.xml"/><Relationship Id="rId1" Type="http://schemas.openxmlformats.org/officeDocument/2006/relationships/image" Target="../media/image10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11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3.xml"/><Relationship Id="rId1" Type="http://schemas.openxmlformats.org/officeDocument/2006/relationships/image" Target="../media/image12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1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lVWozBOVY2M.jpg"/>
          <p:cNvPicPr>
            <a:picLocks noGrp="1" noChangeAspect="1"/>
          </p:cNvPicPr>
          <p:nvPr>
            <p:ph type="pic" idx="2"/>
          </p:nvPr>
        </p:nvPicPr>
        <p:blipFill>
          <a:blip r:embed="rId1"/>
          <a:srcRect l="20370" r="20370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0203" y="2851494"/>
            <a:ext cx="7529186" cy="5871882"/>
          </a:xfrm>
        </p:spPr>
        <p:txBody>
          <a:bodyPr>
            <a:normAutofit fontScale="92500" lnSpcReduction="20000"/>
          </a:bodyPr>
          <a:lstStyle/>
          <a:p>
            <a:pPr>
              <a:defRPr sz="3600">
                <a:latin typeface="Calibri"/>
              </a:defRPr>
            </a:pPr>
            <a:r>
              <a:rPr dirty="0" err="1">
                <a:cs typeface="Calibri"/>
              </a:rPr>
              <a:t>Определение</a:t>
            </a:r>
            <a:r>
              <a:rPr dirty="0">
                <a:cs typeface="Calibri"/>
              </a:rPr>
              <a:t>: </a:t>
            </a:r>
            <a:r>
              <a:rPr dirty="0" err="1">
                <a:cs typeface="Calibri"/>
              </a:rPr>
              <a:t>Архитектура</a:t>
            </a:r>
            <a:r>
              <a:rPr dirty="0">
                <a:cs typeface="Calibri"/>
              </a:rPr>
              <a:t> </a:t>
            </a:r>
            <a:r>
              <a:rPr dirty="0" err="1">
                <a:cs typeface="Calibri"/>
              </a:rPr>
              <a:t>программного</a:t>
            </a:r>
            <a:r>
              <a:rPr dirty="0">
                <a:cs typeface="Calibri"/>
              </a:rPr>
              <a:t> </a:t>
            </a:r>
            <a:r>
              <a:rPr dirty="0" err="1">
                <a:cs typeface="Calibri"/>
              </a:rPr>
              <a:t>обеспечения</a:t>
            </a:r>
            <a:r>
              <a:rPr dirty="0">
                <a:cs typeface="Calibri"/>
              </a:rPr>
              <a:t> — </a:t>
            </a:r>
            <a:r>
              <a:rPr dirty="0" err="1">
                <a:cs typeface="Calibri"/>
              </a:rPr>
              <a:t>это</a:t>
            </a:r>
            <a:r>
              <a:rPr dirty="0">
                <a:cs typeface="Calibri"/>
              </a:rPr>
              <a:t> </a:t>
            </a:r>
            <a:r>
              <a:rPr dirty="0" err="1">
                <a:cs typeface="Calibri"/>
              </a:rPr>
              <a:t>структура</a:t>
            </a:r>
            <a:r>
              <a:rPr dirty="0">
                <a:cs typeface="Calibri"/>
              </a:rPr>
              <a:t> </a:t>
            </a:r>
            <a:r>
              <a:rPr dirty="0" err="1">
                <a:cs typeface="Calibri"/>
              </a:rPr>
              <a:t>программной</a:t>
            </a:r>
            <a:r>
              <a:rPr dirty="0">
                <a:cs typeface="Calibri"/>
              </a:rPr>
              <a:t> </a:t>
            </a:r>
            <a:r>
              <a:rPr dirty="0" err="1">
                <a:cs typeface="Calibri"/>
              </a:rPr>
              <a:t>системы</a:t>
            </a:r>
            <a:r>
              <a:rPr dirty="0">
                <a:cs typeface="Calibri"/>
              </a:rPr>
              <a:t>, </a:t>
            </a:r>
            <a:r>
              <a:rPr dirty="0" err="1">
                <a:cs typeface="Calibri"/>
              </a:rPr>
              <a:t>включающая</a:t>
            </a:r>
            <a:r>
              <a:rPr dirty="0">
                <a:cs typeface="Calibri"/>
              </a:rPr>
              <a:t> </a:t>
            </a:r>
            <a:r>
              <a:rPr dirty="0" err="1">
                <a:cs typeface="Calibri"/>
              </a:rPr>
              <a:t>элементы</a:t>
            </a:r>
            <a:r>
              <a:rPr dirty="0">
                <a:cs typeface="Calibri"/>
              </a:rPr>
              <a:t> и </a:t>
            </a:r>
            <a:r>
              <a:rPr dirty="0" err="1">
                <a:cs typeface="Calibri"/>
              </a:rPr>
              <a:t>отношения</a:t>
            </a:r>
            <a:r>
              <a:rPr dirty="0">
                <a:cs typeface="Calibri"/>
              </a:rPr>
              <a:t> </a:t>
            </a:r>
            <a:r>
              <a:rPr dirty="0" err="1">
                <a:cs typeface="Calibri"/>
              </a:rPr>
              <a:t>между</a:t>
            </a:r>
            <a:r>
              <a:rPr dirty="0">
                <a:cs typeface="Calibri"/>
              </a:rPr>
              <a:t> </a:t>
            </a:r>
            <a:r>
              <a:rPr dirty="0" err="1">
                <a:cs typeface="Calibri"/>
              </a:rPr>
              <a:t>ними</a:t>
            </a:r>
            <a:r>
              <a:rPr dirty="0">
                <a:cs typeface="Calibri"/>
              </a:rPr>
              <a:t>.</a:t>
            </a:r>
            <a:endParaRPr dirty="0">
              <a:cs typeface="Calibri"/>
            </a:endParaRPr>
          </a:p>
          <a:p>
            <a:pPr>
              <a:defRPr sz="3600">
                <a:latin typeface="Calibri"/>
              </a:defRPr>
            </a:pPr>
            <a:r>
              <a:rPr dirty="0" err="1">
                <a:cs typeface="Calibri"/>
              </a:rPr>
              <a:t>Важность</a:t>
            </a:r>
            <a:r>
              <a:rPr dirty="0">
                <a:cs typeface="Calibri"/>
              </a:rPr>
              <a:t>: </a:t>
            </a:r>
            <a:r>
              <a:rPr dirty="0" err="1">
                <a:cs typeface="Calibri"/>
              </a:rPr>
              <a:t>Обеспечивает</a:t>
            </a:r>
            <a:r>
              <a:rPr dirty="0">
                <a:cs typeface="Calibri"/>
              </a:rPr>
              <a:t> </a:t>
            </a:r>
            <a:r>
              <a:rPr lang="ru-RU" dirty="0">
                <a:cs typeface="Calibri"/>
              </a:rPr>
              <a:t>основу</a:t>
            </a:r>
            <a:r>
              <a:rPr dirty="0">
                <a:cs typeface="Calibri"/>
              </a:rPr>
              <a:t> </a:t>
            </a:r>
            <a:r>
              <a:rPr dirty="0" err="1">
                <a:cs typeface="Calibri"/>
              </a:rPr>
              <a:t>для</a:t>
            </a:r>
            <a:r>
              <a:rPr dirty="0">
                <a:cs typeface="Calibri"/>
              </a:rPr>
              <a:t> </a:t>
            </a:r>
            <a:r>
              <a:rPr dirty="0" err="1">
                <a:cs typeface="Calibri"/>
              </a:rPr>
              <a:t>качества</a:t>
            </a:r>
            <a:r>
              <a:rPr dirty="0">
                <a:cs typeface="Calibri"/>
              </a:rPr>
              <a:t> ПО, </a:t>
            </a:r>
            <a:r>
              <a:rPr dirty="0" err="1">
                <a:cs typeface="Calibri"/>
              </a:rPr>
              <a:t>управляет</a:t>
            </a:r>
            <a:r>
              <a:rPr dirty="0">
                <a:cs typeface="Calibri"/>
              </a:rPr>
              <a:t> </a:t>
            </a:r>
            <a:r>
              <a:rPr dirty="0" err="1">
                <a:cs typeface="Calibri"/>
              </a:rPr>
              <a:t>сложностью</a:t>
            </a:r>
            <a:r>
              <a:rPr dirty="0">
                <a:cs typeface="Calibri"/>
              </a:rPr>
              <a:t>, </a:t>
            </a:r>
            <a:r>
              <a:rPr dirty="0" err="1">
                <a:cs typeface="Calibri"/>
              </a:rPr>
              <a:t>облегчает</a:t>
            </a:r>
            <a:r>
              <a:rPr dirty="0">
                <a:cs typeface="Calibri"/>
              </a:rPr>
              <a:t> </a:t>
            </a:r>
            <a:r>
              <a:rPr dirty="0" err="1">
                <a:cs typeface="Calibri"/>
              </a:rPr>
              <a:t>взаимодействие</a:t>
            </a:r>
            <a:r>
              <a:rPr dirty="0">
                <a:cs typeface="Calibri"/>
              </a:rPr>
              <a:t> </a:t>
            </a:r>
            <a:r>
              <a:rPr dirty="0" err="1">
                <a:cs typeface="Calibri"/>
              </a:rPr>
              <a:t>между</a:t>
            </a:r>
            <a:r>
              <a:rPr dirty="0">
                <a:cs typeface="Calibri"/>
              </a:rPr>
              <a:t> </a:t>
            </a:r>
            <a:r>
              <a:rPr dirty="0" err="1">
                <a:cs typeface="Calibri"/>
              </a:rPr>
              <a:t>заинтересованными</a:t>
            </a:r>
            <a:r>
              <a:rPr dirty="0">
                <a:cs typeface="Calibri"/>
              </a:rPr>
              <a:t> </a:t>
            </a:r>
            <a:r>
              <a:rPr dirty="0" err="1">
                <a:cs typeface="Calibri"/>
              </a:rPr>
              <a:t>сторонами</a:t>
            </a:r>
            <a:r>
              <a:rPr dirty="0">
                <a:cs typeface="Calibri"/>
              </a:rPr>
              <a:t>.</a:t>
            </a:r>
            <a:endParaRPr dirty="0">
              <a:cs typeface="Calibri"/>
            </a:endParaRPr>
          </a:p>
          <a:p>
            <a:pPr>
              <a:defRPr sz="3600">
                <a:latin typeface="Calibri"/>
              </a:defRPr>
            </a:pPr>
            <a:r>
              <a:rPr dirty="0" err="1">
                <a:cs typeface="Calibri"/>
              </a:rPr>
              <a:t>Роль</a:t>
            </a:r>
            <a:r>
              <a:rPr dirty="0">
                <a:cs typeface="Calibri"/>
              </a:rPr>
              <a:t> в </a:t>
            </a:r>
            <a:r>
              <a:rPr dirty="0" err="1">
                <a:cs typeface="Calibri"/>
              </a:rPr>
              <a:t>разработке</a:t>
            </a:r>
            <a:r>
              <a:rPr dirty="0">
                <a:cs typeface="Calibri"/>
              </a:rPr>
              <a:t>: </a:t>
            </a:r>
            <a:r>
              <a:rPr dirty="0" err="1">
                <a:cs typeface="Calibri"/>
              </a:rPr>
              <a:t>Чертеж</a:t>
            </a:r>
            <a:r>
              <a:rPr dirty="0">
                <a:cs typeface="Calibri"/>
              </a:rPr>
              <a:t>, </a:t>
            </a:r>
            <a:r>
              <a:rPr dirty="0" err="1">
                <a:cs typeface="Calibri"/>
              </a:rPr>
              <a:t>направляющий</a:t>
            </a:r>
            <a:r>
              <a:rPr dirty="0">
                <a:cs typeface="Calibri"/>
              </a:rPr>
              <a:t> </a:t>
            </a:r>
            <a:r>
              <a:rPr dirty="0" err="1">
                <a:cs typeface="Calibri"/>
              </a:rPr>
              <a:t>решения</a:t>
            </a:r>
            <a:r>
              <a:rPr dirty="0">
                <a:cs typeface="Calibri"/>
              </a:rPr>
              <a:t> </a:t>
            </a:r>
            <a:r>
              <a:rPr dirty="0" err="1">
                <a:cs typeface="Calibri"/>
              </a:rPr>
              <a:t>по</a:t>
            </a:r>
            <a:r>
              <a:rPr dirty="0">
                <a:cs typeface="Calibri"/>
              </a:rPr>
              <a:t> </a:t>
            </a:r>
            <a:r>
              <a:rPr dirty="0" err="1">
                <a:cs typeface="Calibri"/>
              </a:rPr>
              <a:t>проектированию</a:t>
            </a:r>
            <a:r>
              <a:rPr dirty="0">
                <a:cs typeface="Calibri"/>
              </a:rPr>
              <a:t>, </a:t>
            </a:r>
            <a:r>
              <a:rPr dirty="0" err="1">
                <a:cs typeface="Calibri"/>
              </a:rPr>
              <a:t>разработке</a:t>
            </a:r>
            <a:r>
              <a:rPr dirty="0">
                <a:cs typeface="Calibri"/>
              </a:rPr>
              <a:t>, </a:t>
            </a:r>
            <a:r>
              <a:rPr dirty="0" err="1">
                <a:cs typeface="Calibri"/>
              </a:rPr>
              <a:t>интеграции</a:t>
            </a:r>
            <a:r>
              <a:rPr dirty="0">
                <a:cs typeface="Calibri"/>
              </a:rPr>
              <a:t>.</a:t>
            </a:r>
            <a:endParaRPr dirty="0">
              <a:cs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09435" y="764159"/>
            <a:ext cx="7529186" cy="1465542"/>
          </a:xfrm>
        </p:spPr>
        <p:txBody>
          <a:bodyPr>
            <a:normAutofit fontScale="90000"/>
          </a:bodyPr>
          <a:lstStyle/>
          <a:p>
            <a:pPr>
              <a:defRPr sz="4600">
                <a:solidFill>
                  <a:srgbClr val="006400"/>
                </a:solidFill>
                <a:latin typeface="Calibri"/>
              </a:defRPr>
            </a:pPr>
            <a:r>
              <a:t>Введение в архитектуру программного обеспечения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VviFtDJakYk.jpg"/>
          <p:cNvPicPr>
            <a:picLocks noGrp="1" noChangeAspect="1"/>
          </p:cNvPicPr>
          <p:nvPr>
            <p:ph type="pic" idx="2"/>
          </p:nvPr>
        </p:nvPicPr>
        <p:blipFill>
          <a:blip r:embed="rId1"/>
          <a:srcRect l="20370" r="20370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574696" y="2997250"/>
            <a:ext cx="7489429" cy="5892750"/>
          </a:xfrm>
        </p:spPr>
        <p:txBody>
          <a:bodyPr/>
          <a:lstStyle/>
          <a:p>
            <a:pPr>
              <a:defRPr sz="3600">
                <a:latin typeface="Calibri"/>
              </a:defRPr>
            </a:pPr>
            <a:r>
              <a:rPr dirty="0" err="1"/>
              <a:t>Определения</a:t>
            </a:r>
            <a:r>
              <a:rPr dirty="0"/>
              <a:t>:</a:t>
            </a:r>
            <a:endParaRPr dirty="0"/>
          </a:p>
          <a:p>
            <a:pPr>
              <a:defRPr sz="3600">
                <a:latin typeface="Calibri"/>
              </a:defRPr>
            </a:pPr>
            <a:r>
              <a:rPr dirty="0" err="1"/>
              <a:t>Масштабируемость</a:t>
            </a:r>
            <a:r>
              <a:rPr dirty="0"/>
              <a:t> — </a:t>
            </a:r>
            <a:r>
              <a:rPr dirty="0" err="1"/>
              <a:t>способность</a:t>
            </a:r>
            <a:r>
              <a:rPr dirty="0"/>
              <a:t> </a:t>
            </a:r>
            <a:r>
              <a:rPr dirty="0" err="1"/>
              <a:t>справляться</a:t>
            </a:r>
            <a:r>
              <a:rPr dirty="0"/>
              <a:t> с </a:t>
            </a:r>
            <a:r>
              <a:rPr dirty="0" err="1"/>
              <a:t>увеличением</a:t>
            </a:r>
            <a:r>
              <a:rPr dirty="0"/>
              <a:t> </a:t>
            </a:r>
            <a:r>
              <a:rPr dirty="0" err="1"/>
              <a:t>нагрузки</a:t>
            </a:r>
            <a:r>
              <a:rPr dirty="0"/>
              <a:t>.</a:t>
            </a:r>
            <a:endParaRPr dirty="0"/>
          </a:p>
          <a:p>
            <a:pPr>
              <a:defRPr sz="3600">
                <a:latin typeface="Calibri"/>
              </a:defRPr>
            </a:pPr>
            <a:r>
              <a:rPr dirty="0" err="1"/>
              <a:t>Надежность</a:t>
            </a:r>
            <a:r>
              <a:rPr dirty="0"/>
              <a:t> — </a:t>
            </a:r>
            <a:r>
              <a:rPr dirty="0" err="1"/>
              <a:t>стабильная</a:t>
            </a:r>
            <a:r>
              <a:rPr dirty="0"/>
              <a:t> </a:t>
            </a:r>
            <a:r>
              <a:rPr dirty="0" err="1"/>
              <a:t>работа</a:t>
            </a:r>
            <a:r>
              <a:rPr dirty="0"/>
              <a:t>.</a:t>
            </a:r>
            <a:endParaRPr dirty="0"/>
          </a:p>
          <a:p>
            <a:pPr>
              <a:defRPr sz="3600">
                <a:latin typeface="Calibri"/>
              </a:defRPr>
            </a:pPr>
            <a:r>
              <a:rPr dirty="0" err="1"/>
              <a:t>Безопасность</a:t>
            </a:r>
            <a:r>
              <a:rPr dirty="0"/>
              <a:t> — </a:t>
            </a:r>
            <a:r>
              <a:rPr dirty="0" err="1"/>
              <a:t>защита</a:t>
            </a:r>
            <a:r>
              <a:rPr dirty="0"/>
              <a:t> </a:t>
            </a:r>
            <a:r>
              <a:rPr dirty="0" err="1"/>
              <a:t>данных</a:t>
            </a:r>
            <a:r>
              <a:rPr dirty="0"/>
              <a:t> </a:t>
            </a:r>
            <a:r>
              <a:rPr dirty="0" err="1"/>
              <a:t>от</a:t>
            </a:r>
            <a:r>
              <a:rPr dirty="0"/>
              <a:t> </a:t>
            </a:r>
            <a:r>
              <a:rPr dirty="0" err="1"/>
              <a:t>несанкционированного</a:t>
            </a:r>
            <a:r>
              <a:rPr dirty="0"/>
              <a:t> </a:t>
            </a:r>
            <a:r>
              <a:rPr dirty="0" err="1"/>
              <a:t>доступа</a:t>
            </a:r>
            <a:r>
              <a:rPr dirty="0"/>
              <a:t>.</a:t>
            </a:r>
            <a:endParaRPr dirty="0"/>
          </a:p>
          <a:p>
            <a:pPr>
              <a:defRPr sz="3600">
                <a:latin typeface="Calibri"/>
              </a:defRPr>
            </a:pPr>
            <a:r>
              <a:rPr dirty="0" err="1"/>
              <a:t>Методы</a:t>
            </a:r>
            <a:r>
              <a:rPr dirty="0"/>
              <a:t> </a:t>
            </a:r>
            <a:r>
              <a:rPr dirty="0" err="1"/>
              <a:t>оценки</a:t>
            </a:r>
            <a:r>
              <a:rPr dirty="0"/>
              <a:t>: </a:t>
            </a:r>
            <a:r>
              <a:rPr dirty="0" err="1"/>
              <a:t>нагрузочное</a:t>
            </a:r>
            <a:r>
              <a:rPr dirty="0"/>
              <a:t> </a:t>
            </a:r>
            <a:r>
              <a:rPr dirty="0" err="1"/>
              <a:t>тестирование</a:t>
            </a:r>
            <a:r>
              <a:rPr dirty="0"/>
              <a:t>, </a:t>
            </a:r>
            <a:r>
              <a:rPr dirty="0" err="1"/>
              <a:t>аудиты</a:t>
            </a:r>
            <a:r>
              <a:rPr dirty="0"/>
              <a:t> </a:t>
            </a:r>
            <a:r>
              <a:rPr dirty="0" err="1"/>
              <a:t>безопасности</a:t>
            </a:r>
            <a:r>
              <a:rPr dirty="0"/>
              <a:t>.</a:t>
            </a:r>
            <a:endParaRPr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574696" y="892174"/>
            <a:ext cx="7489429" cy="1444675"/>
          </a:xfrm>
        </p:spPr>
        <p:txBody>
          <a:bodyPr>
            <a:normAutofit fontScale="90000"/>
          </a:bodyPr>
          <a:lstStyle/>
          <a:p>
            <a:pPr>
              <a:defRPr sz="4600">
                <a:solidFill>
                  <a:srgbClr val="006400"/>
                </a:solidFill>
                <a:latin typeface="Calibri"/>
              </a:defRPr>
            </a:pPr>
            <a:r>
              <a:rPr dirty="0" err="1"/>
              <a:t>Атрибуты</a:t>
            </a:r>
            <a:r>
              <a:rPr dirty="0"/>
              <a:t> </a:t>
            </a:r>
            <a:r>
              <a:rPr dirty="0" err="1"/>
              <a:t>качества</a:t>
            </a:r>
            <a:r>
              <a:rPr dirty="0"/>
              <a:t> в </a:t>
            </a:r>
            <a:r>
              <a:rPr dirty="0" err="1"/>
              <a:t>архитектуре</a:t>
            </a:r>
            <a:r>
              <a:rPr dirty="0"/>
              <a:t> ПО</a:t>
            </a:r>
            <a:endParaRPr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solidFill>
            <a:srgbClr val="006400"/>
          </a:solidFill>
        </p:spPr>
        <p:txBody>
          <a:bodyPr/>
          <a:lstStyle/>
          <a:p/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jTCLppdwSEc.jpg"/>
          <p:cNvPicPr>
            <a:picLocks noGrp="1" noChangeAspect="1"/>
          </p:cNvPicPr>
          <p:nvPr>
            <p:ph type="pic" idx="2"/>
          </p:nvPr>
        </p:nvPicPr>
        <p:blipFill>
          <a:blip r:embed="rId1"/>
          <a:srcRect l="10239" r="1023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744450" y="3344831"/>
            <a:ext cx="4624475" cy="5172635"/>
          </a:xfrm>
        </p:spPr>
        <p:txBody>
          <a:bodyPr spcFirstLastPara="1" wrap="square" lIns="0" tIns="91425" rIns="91425" bIns="91425" anchor="t" anchorCtr="0">
            <a:noAutofit/>
          </a:bodyPr>
          <a:lstStyle/>
          <a:p>
            <a:pPr>
              <a:defRPr sz="3600">
                <a:latin typeface="Calibri"/>
              </a:defRPr>
            </a:pPr>
            <a:r>
              <a:rPr sz="2800" err="1">
                <a:cs typeface="Calibri"/>
              </a:rPr>
              <a:t>Методы</a:t>
            </a:r>
            <a:r>
              <a:rPr sz="2800" dirty="0">
                <a:cs typeface="Calibri"/>
              </a:rPr>
              <a:t>:</a:t>
            </a:r>
            <a:endParaRPr lang="ru-RU" sz="2800">
              <a:cs typeface="Calibri"/>
            </a:endParaRPr>
          </a:p>
          <a:p>
            <a:pPr>
              <a:defRPr sz="3600">
                <a:latin typeface="Calibri"/>
              </a:defRPr>
            </a:pPr>
            <a:r>
              <a:rPr sz="2800" err="1">
                <a:cs typeface="Calibri"/>
              </a:rPr>
              <a:t>Горизонтальное</a:t>
            </a:r>
            <a:r>
              <a:rPr sz="2800" dirty="0">
                <a:cs typeface="Calibri"/>
              </a:rPr>
              <a:t> </a:t>
            </a:r>
            <a:r>
              <a:rPr sz="2800" err="1">
                <a:cs typeface="Calibri"/>
              </a:rPr>
              <a:t>масштабирование</a:t>
            </a:r>
            <a:r>
              <a:rPr sz="2800" dirty="0">
                <a:cs typeface="Calibri"/>
              </a:rPr>
              <a:t> — </a:t>
            </a:r>
            <a:r>
              <a:rPr sz="2800" err="1">
                <a:cs typeface="Calibri"/>
              </a:rPr>
              <a:t>добавление</a:t>
            </a:r>
            <a:r>
              <a:rPr sz="2800" dirty="0">
                <a:cs typeface="Calibri"/>
              </a:rPr>
              <a:t> </a:t>
            </a:r>
            <a:r>
              <a:rPr sz="2800" err="1">
                <a:cs typeface="Calibri"/>
              </a:rPr>
              <a:t>серверов</a:t>
            </a:r>
            <a:r>
              <a:rPr sz="2800" dirty="0">
                <a:cs typeface="Calibri"/>
              </a:rPr>
              <a:t>.</a:t>
            </a:r>
            <a:endParaRPr sz="2800" dirty="0">
              <a:cs typeface="Calibri"/>
            </a:endParaRPr>
          </a:p>
          <a:p>
            <a:pPr>
              <a:defRPr sz="3600">
                <a:latin typeface="Calibri"/>
              </a:defRPr>
            </a:pPr>
            <a:r>
              <a:rPr sz="2800" err="1">
                <a:cs typeface="Calibri"/>
              </a:rPr>
              <a:t>Вертикальное</a:t>
            </a:r>
            <a:r>
              <a:rPr sz="2800" dirty="0">
                <a:cs typeface="Calibri"/>
              </a:rPr>
              <a:t> </a:t>
            </a:r>
            <a:r>
              <a:rPr sz="2800" err="1">
                <a:cs typeface="Calibri"/>
              </a:rPr>
              <a:t>масштабирование</a:t>
            </a:r>
            <a:r>
              <a:rPr sz="2800" dirty="0">
                <a:cs typeface="Calibri"/>
              </a:rPr>
              <a:t> — </a:t>
            </a:r>
            <a:r>
              <a:rPr sz="2800" err="1">
                <a:cs typeface="Calibri"/>
              </a:rPr>
              <a:t>увеличение</a:t>
            </a:r>
            <a:r>
              <a:rPr sz="2800" dirty="0">
                <a:cs typeface="Calibri"/>
              </a:rPr>
              <a:t> </a:t>
            </a:r>
            <a:r>
              <a:rPr sz="2800" err="1">
                <a:cs typeface="Calibri"/>
              </a:rPr>
              <a:t>ресурсов</a:t>
            </a:r>
            <a:r>
              <a:rPr sz="2800" dirty="0">
                <a:cs typeface="Calibri"/>
              </a:rPr>
              <a:t>.</a:t>
            </a:r>
            <a:endParaRPr sz="2800" dirty="0">
              <a:cs typeface="Calibri"/>
            </a:endParaRPr>
          </a:p>
          <a:p>
            <a:pPr>
              <a:defRPr sz="3600">
                <a:latin typeface="Calibri"/>
              </a:defRPr>
            </a:pPr>
            <a:r>
              <a:rPr sz="2800" err="1">
                <a:cs typeface="Calibri"/>
              </a:rPr>
              <a:t>Балансировка</a:t>
            </a:r>
            <a:r>
              <a:rPr sz="2800" dirty="0">
                <a:cs typeface="Calibri"/>
              </a:rPr>
              <a:t> </a:t>
            </a:r>
            <a:r>
              <a:rPr sz="2800" err="1">
                <a:cs typeface="Calibri"/>
              </a:rPr>
              <a:t>нагрузки</a:t>
            </a:r>
            <a:r>
              <a:rPr sz="2800" dirty="0">
                <a:cs typeface="Calibri"/>
              </a:rPr>
              <a:t> — </a:t>
            </a:r>
            <a:r>
              <a:rPr sz="2800" err="1">
                <a:cs typeface="Calibri"/>
              </a:rPr>
              <a:t>распределение</a:t>
            </a:r>
            <a:r>
              <a:rPr sz="2800" dirty="0">
                <a:cs typeface="Calibri"/>
              </a:rPr>
              <a:t> </a:t>
            </a:r>
            <a:r>
              <a:rPr sz="2800" err="1">
                <a:cs typeface="Calibri"/>
              </a:rPr>
              <a:t>запросов</a:t>
            </a:r>
            <a:r>
              <a:rPr sz="2800" dirty="0">
                <a:cs typeface="Calibri"/>
              </a:rPr>
              <a:t> </a:t>
            </a:r>
            <a:r>
              <a:rPr sz="2800" err="1">
                <a:cs typeface="Calibri"/>
              </a:rPr>
              <a:t>для</a:t>
            </a:r>
            <a:r>
              <a:rPr sz="2800" dirty="0">
                <a:cs typeface="Calibri"/>
              </a:rPr>
              <a:t> </a:t>
            </a:r>
            <a:r>
              <a:rPr sz="2800" err="1">
                <a:cs typeface="Calibri"/>
              </a:rPr>
              <a:t>повышения</a:t>
            </a:r>
            <a:r>
              <a:rPr sz="2800" dirty="0">
                <a:cs typeface="Calibri"/>
              </a:rPr>
              <a:t> </a:t>
            </a:r>
            <a:r>
              <a:rPr sz="2800" err="1">
                <a:cs typeface="Calibri"/>
              </a:rPr>
              <a:t>эффективности</a:t>
            </a:r>
            <a:r>
              <a:rPr sz="2800" dirty="0">
                <a:cs typeface="Calibri"/>
              </a:rPr>
              <a:t>.</a:t>
            </a:r>
            <a:endParaRPr sz="2800" dirty="0">
              <a:cs typeface="Calibri"/>
            </a:endParaRPr>
          </a:p>
          <a:p>
            <a:pPr>
              <a:defRPr sz="3600">
                <a:latin typeface="Calibri"/>
              </a:defRPr>
            </a:pPr>
            <a:r>
              <a:rPr sz="2800" err="1">
                <a:cs typeface="Calibri"/>
              </a:rPr>
              <a:t>Компромиссы</a:t>
            </a:r>
            <a:r>
              <a:rPr sz="2800" dirty="0">
                <a:cs typeface="Calibri"/>
              </a:rPr>
              <a:t>: </a:t>
            </a:r>
            <a:r>
              <a:rPr sz="2800" err="1">
                <a:cs typeface="Calibri"/>
              </a:rPr>
              <a:t>высокая</a:t>
            </a:r>
            <a:r>
              <a:rPr sz="2800" dirty="0">
                <a:cs typeface="Calibri"/>
              </a:rPr>
              <a:t> </a:t>
            </a:r>
            <a:r>
              <a:rPr sz="2800" err="1">
                <a:cs typeface="Calibri"/>
              </a:rPr>
              <a:t>стоимость</a:t>
            </a:r>
            <a:r>
              <a:rPr sz="2800" dirty="0">
                <a:cs typeface="Calibri"/>
              </a:rPr>
              <a:t> </a:t>
            </a:r>
            <a:r>
              <a:rPr sz="2800" err="1">
                <a:cs typeface="Calibri"/>
              </a:rPr>
              <a:t>инфраструктуры</a:t>
            </a:r>
            <a:r>
              <a:rPr sz="2800" dirty="0">
                <a:cs typeface="Calibri"/>
              </a:rPr>
              <a:t> и </a:t>
            </a:r>
            <a:r>
              <a:rPr sz="2800" err="1">
                <a:cs typeface="Calibri"/>
              </a:rPr>
              <a:t>сложность</a:t>
            </a:r>
            <a:r>
              <a:rPr sz="2800" dirty="0">
                <a:cs typeface="Calibri"/>
              </a:rPr>
              <a:t>.</a:t>
            </a:r>
            <a:endParaRPr sz="2800" dirty="0">
              <a:cs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2744450" y="638175"/>
            <a:ext cx="4624475" cy="2164788"/>
          </a:xfrm>
        </p:spPr>
        <p:txBody>
          <a:bodyPr>
            <a:normAutofit fontScale="90000"/>
          </a:bodyPr>
          <a:lstStyle/>
          <a:p>
            <a:pPr>
              <a:defRPr sz="4600">
                <a:solidFill>
                  <a:srgbClr val="006400"/>
                </a:solidFill>
                <a:latin typeface="Calibri"/>
              </a:defRPr>
            </a:pPr>
            <a:r>
              <a:t>Масштабируемость в архитектуре ПО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688Fna1pwOQ.jpg"/>
          <p:cNvPicPr>
            <a:picLocks noGrp="1" noChangeAspect="1"/>
          </p:cNvPicPr>
          <p:nvPr>
            <p:ph type="pic" idx="2"/>
          </p:nvPr>
        </p:nvPicPr>
        <p:blipFill>
          <a:blip r:embed="rId1"/>
          <a:srcRect l="20082" r="20082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524" y="2915657"/>
            <a:ext cx="7529186" cy="5871882"/>
          </a:xfrm>
          <a:ln>
            <a:solidFill>
              <a:srgbClr val="4472C4"/>
            </a:solidFill>
          </a:ln>
        </p:spPr>
        <p:txBody>
          <a:bodyPr/>
          <a:lstStyle/>
          <a:p>
            <a:pPr>
              <a:defRPr sz="3600">
                <a:latin typeface="Calibri"/>
              </a:defRPr>
            </a:pPr>
            <a:r>
              <a:t>Стратегии:</a:t>
            </a:r>
          </a:p>
          <a:p>
            <a:pPr>
              <a:defRPr sz="3600">
                <a:latin typeface="Calibri"/>
              </a:defRPr>
            </a:pPr>
            <a:r>
              <a:t>Кэширование — уменьшение нагрузки через временное хранение данных.</a:t>
            </a:r>
          </a:p>
          <a:p>
            <a:pPr>
              <a:defRPr sz="3600">
                <a:latin typeface="Calibri"/>
              </a:defRPr>
            </a:pPr>
            <a:r>
              <a:t>Индексация БД — ускорение извлечения данных.</a:t>
            </a:r>
          </a:p>
          <a:p>
            <a:pPr>
              <a:defRPr sz="3600">
                <a:latin typeface="Calibri"/>
              </a:defRPr>
            </a:pPr>
            <a:r>
              <a:t>Оптимизация кода — устранение неэффективности.</a:t>
            </a:r>
          </a:p>
          <a:p>
            <a:pPr>
              <a:defRPr sz="3600">
                <a:latin typeface="Calibri"/>
              </a:defRPr>
            </a:pPr>
            <a:r>
              <a:t>Тестирование производительности и мониторинг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12612" y="636453"/>
            <a:ext cx="7529186" cy="1465542"/>
          </a:xfrm>
        </p:spPr>
        <p:txBody>
          <a:bodyPr>
            <a:normAutofit fontScale="90000"/>
          </a:bodyPr>
          <a:lstStyle/>
          <a:p>
            <a:pPr>
              <a:defRPr sz="4600">
                <a:solidFill>
                  <a:srgbClr val="006400"/>
                </a:solidFill>
                <a:latin typeface="Calibri"/>
              </a:defRPr>
            </a:pPr>
            <a:r>
              <a:t>Оптимизация производительности в архитектуре ПО</a:t>
            </a:r>
          </a:p>
        </p:txBody>
      </p:sp>
      <p:sp>
        <p:nvSpPr>
          <p:cNvPr id="8" name="Рисунок 7"/>
          <p:cNvSpPr>
            <a:spLocks noGrp="1"/>
          </p:cNvSpPr>
          <p:nvPr>
            <p:ph type="pic" idx="3"/>
          </p:nvPr>
        </p:nvSpPr>
        <p:spPr/>
      </p:sp>
      <mc:AlternateContent xmlns:mc="http://schemas.openxmlformats.org/markup-compatibility/2006" xmlns:p14="http://schemas.microsoft.com/office/powerpoint/2010/main">
        <mc:Choice Requires="p14">
          <p:contentPart r:id="rId2" p14:bwMode="auto">
            <p14:nvContentPartPr>
              <p14:cNvPr id="11" name="Рукописный ввод 10"/>
              <p14:cNvContentPartPr/>
              <p14:nvPr/>
            </p14:nvContentPartPr>
            <p14:xfrm>
              <a:off x="2954932" y="9741986"/>
              <a:ext cx="167960" cy="19372"/>
            </p14:xfrm>
          </p:contentPart>
        </mc:Choice>
        <mc:Fallback xmlns="">
          <p:pic>
            <p:nvPicPr>
              <p:cNvPr id="11" name="Рукописный ввод 10"/>
            </p:nvPicPr>
            <p:blipFill>
              <a:blip r:embed="rId3"/>
            </p:blipFill>
            <p:spPr>
              <a:xfrm>
                <a:off x="2954932" y="9741986"/>
                <a:ext cx="167960" cy="19372"/>
              </a:xfrm>
              <a:prstGeom prst="rect"/>
            </p:spPr>
          </p:pic>
        </mc:Fallback>
      </mc:AlternateContent>
      <p:sp>
        <p:nvSpPr>
          <p:cNvPr id="15" name="Объект 14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ru-RU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aBLhscQZj0A.jpg"/>
          <p:cNvPicPr>
            <a:picLocks noGrp="1" noChangeAspect="1"/>
          </p:cNvPicPr>
          <p:nvPr>
            <p:ph type="pic" idx="2"/>
          </p:nvPr>
        </p:nvPicPr>
        <p:blipFill>
          <a:blip r:embed="rId1"/>
          <a:srcRect t="5331" b="5331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Общие проблемы: технический долг, изменяющиеся требования.</a:t>
            </a:r>
          </a:p>
          <a:p>
            <a:pPr>
              <a:defRPr sz="3600">
                <a:latin typeface="Calibri"/>
              </a:defRPr>
            </a:pPr>
            <a:r>
              <a:t>Влияние на качество: снижение производительности, рост затрат на поддержку.</a:t>
            </a:r>
          </a:p>
          <a:p>
            <a:pPr>
              <a:defRPr sz="3600">
                <a:latin typeface="Calibri"/>
              </a:defRPr>
            </a:pPr>
            <a:r>
              <a:t>Решения: регулярный рефакторинг, документация, согласование с целями бизнеса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6400"/>
                </a:solidFill>
                <a:latin typeface="Calibri"/>
              </a:defRPr>
            </a:pPr>
            <a:r>
              <a:t>Проблемы в архитектуре ПО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solidFill>
            <a:srgbClr val="006400"/>
          </a:solidFill>
        </p:spPr>
        <p:txBody>
          <a:bodyPr/>
          <a:lstStyle/>
          <a:p/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PzYiCWOHtfU.jpg"/>
          <p:cNvPicPr>
            <a:picLocks noGrp="1" noChangeAspect="1"/>
          </p:cNvPicPr>
          <p:nvPr>
            <p:ph type="pic" idx="2"/>
          </p:nvPr>
        </p:nvPicPr>
        <p:blipFill>
          <a:blip r:embed="rId1"/>
          <a:srcRect t="12500" b="12500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2244" y="2431335"/>
            <a:ext cx="7529186" cy="5871882"/>
          </a:xfrm>
        </p:spPr>
        <p:txBody>
          <a:bodyPr/>
          <a:lstStyle/>
          <a:p>
            <a:pPr>
              <a:defRPr sz="3600">
                <a:latin typeface="Calibri"/>
              </a:defRPr>
            </a:pPr>
            <a:r>
              <a:t>Интеграция ИИ — предсказательный анализ, обнаружение аномалий.</a:t>
            </a:r>
          </a:p>
          <a:p>
            <a:pPr>
              <a:defRPr sz="3600">
                <a:latin typeface="Calibri"/>
              </a:defRPr>
            </a:pPr>
            <a:r>
              <a:t>Безсерверные вычисления — снижение нагрузки на серверы.</a:t>
            </a:r>
          </a:p>
          <a:p>
            <a:pPr>
              <a:defRPr sz="3600">
                <a:latin typeface="Calibri"/>
              </a:defRPr>
            </a:pPr>
            <a:r>
              <a:t>Вычисления на краю — обработка данных ближе к источникам.</a:t>
            </a:r>
          </a:p>
          <a:p>
            <a:pPr>
              <a:defRPr sz="3600">
                <a:latin typeface="Calibri"/>
              </a:defRPr>
            </a:pPr>
            <a:r>
              <a:t>Эти тенденции требуют гибкости и эффективности архитектур для данных в реальном времени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67316" y="636453"/>
            <a:ext cx="7529186" cy="1465542"/>
          </a:xfrm>
        </p:spPr>
        <p:txBody>
          <a:bodyPr>
            <a:normAutofit fontScale="90000"/>
          </a:bodyPr>
          <a:lstStyle/>
          <a:p>
            <a:pPr>
              <a:defRPr sz="4600">
                <a:solidFill>
                  <a:srgbClr val="006400"/>
                </a:solidFill>
                <a:latin typeface="Calibri"/>
              </a:defRPr>
            </a:pPr>
            <a:r>
              <a:t>Будущие тенденции в архитектуре ПО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491" y="1605472"/>
            <a:ext cx="6499897" cy="1929653"/>
          </a:xfrm>
        </p:spPr>
        <p:txBody>
          <a:bodyPr/>
          <a:lstStyle/>
          <a:p>
            <a:pPr>
              <a:defRPr sz="4600">
                <a:solidFill>
                  <a:srgbClr val="006400"/>
                </a:solidFill>
                <a:latin typeface="Calibri"/>
              </a:defRPr>
            </a:pPr>
            <a:r>
              <a:t>Список литературы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0492" y="3367875"/>
            <a:ext cx="6499896" cy="4457725"/>
          </a:xfrm>
        </p:spPr>
        <p:txBody>
          <a:bodyPr>
            <a:normAutofit fontScale="92500" lnSpcReduction="10000"/>
          </a:bodyPr>
          <a:lstStyle/>
          <a:p>
            <a:pPr>
              <a:defRPr sz="3600">
                <a:latin typeface="Calibri"/>
              </a:defRPr>
            </a:pPr>
            <a:r>
              <a:t>Источники для дальнейшего чтения:</a:t>
            </a:r>
          </a:p>
          <a:p>
            <a:pPr>
              <a:defRPr sz="3600">
                <a:latin typeface="Calibri"/>
              </a:defRPr>
            </a:pPr>
            <a:r>
              <a:t>"Software Architecture in Practice" Лен Бас, Пол Клементс, Рик Казман.</a:t>
            </a:r>
          </a:p>
          <a:p>
            <a:pPr>
              <a:defRPr sz="3600">
                <a:latin typeface="Calibri"/>
              </a:defRPr>
            </a:pPr>
            <a:r>
              <a:t>"Designing Data-Intensive Applications" Мартин Клеппман.</a:t>
            </a:r>
          </a:p>
          <a:p>
            <a:pPr>
              <a:defRPr sz="3600">
                <a:latin typeface="Calibri"/>
              </a:defRPr>
            </a:pPr>
            <a:r>
              <a:t>Статьи на проверенных сайтах (ThoughtWorks, InfoQ).</a:t>
            </a:r>
          </a:p>
        </p:txBody>
      </p:sp>
      <p:pic>
        <p:nvPicPr>
          <p:cNvPr id="5" name="Picture Placeholder 4" descr="VLT62-JzddA.jpg"/>
          <p:cNvPicPr>
            <a:picLocks noGrp="1" noChangeAspect="1"/>
          </p:cNvPicPr>
          <p:nvPr>
            <p:ph type="pic" idx="10"/>
          </p:nvPr>
        </p:nvPicPr>
        <p:blipFill>
          <a:blip r:embed="rId1"/>
          <a:srcRect l="5794" r="5794"/>
          <a:stretch>
            <a:fillRect/>
          </a:stretch>
        </p:blipFill>
        <p:spPr/>
      </p:pic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solidFill>
            <a:srgbClr val="006400"/>
          </a:solidFill>
        </p:spPr>
        <p:txBody>
          <a:bodyPr/>
          <a:lstStyle/>
          <a:p/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31491" y="3207472"/>
            <a:ext cx="6499897" cy="1929653"/>
          </a:xfrm>
        </p:spPr>
        <p:txBody>
          <a:bodyPr wrap="square" anchor="t">
            <a:normAutofit/>
          </a:bodyPr>
          <a:lstStyle/>
          <a:p>
            <a:pPr>
              <a:defRPr sz="4600">
                <a:solidFill>
                  <a:srgbClr val="006400"/>
                </a:solidFill>
                <a:latin typeface="Calibri"/>
              </a:defRPr>
            </a:pPr>
            <a:r>
              <a:rPr lang="ru-RU" b="1"/>
              <a:t>Спасибо!</a:t>
            </a:r>
            <a:endParaRPr lang="ru-RU" b="1"/>
          </a:p>
        </p:txBody>
      </p:sp>
      <p:pic>
        <p:nvPicPr>
          <p:cNvPr id="13" name="Рисунок 12" descr="Изображение выглядит как небо, синий, строительство, кривая&#10;&#10;Автоматически созданное описание"/>
          <p:cNvPicPr>
            <a:picLocks noGrp="1" noChangeAspect="1"/>
          </p:cNvPicPr>
          <p:nvPr>
            <p:ph type="pic" idx="10"/>
          </p:nvPr>
        </p:nvPicPr>
        <p:blipFill>
          <a:blip r:embed="rId1"/>
          <a:srcRect l="30407" r="30346"/>
          <a:stretch>
            <a:fillRect/>
          </a:stretch>
        </p:blipFill>
        <p:spPr>
          <a:xfrm>
            <a:off x="12239625" y="6375"/>
            <a:ext cx="6048375" cy="10287000"/>
          </a:xfrm>
          <a:noFill/>
        </p:spPr>
      </p:pic>
      <p:sp>
        <p:nvSpPr>
          <p:cNvPr id="20" name="Content Placeholder 5"/>
          <p:cNvSpPr>
            <a:spLocks noGrp="1"/>
          </p:cNvSpPr>
          <p:nvPr>
            <p:ph sz="quarter" idx="11"/>
          </p:nvPr>
        </p:nvSpPr>
        <p:spPr>
          <a:xfrm>
            <a:off x="10926" y="0"/>
            <a:ext cx="4094909" cy="10287000"/>
          </a:xfrm>
          <a:solidFill>
            <a:srgbClr val="006400"/>
          </a:solidFill>
        </p:spPr>
        <p:txBody>
          <a:bodyPr/>
          <a:lstStyle/>
          <a:p>
            <a:endParaRPr lang="ru-RU" dirty="0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r:id="rId2" p14:bwMode="auto">
            <p14:nvContentPartPr>
              <p14:cNvPr id="14" name="Рукописный ввод 13"/>
              <p14:cNvContentPartPr/>
              <p14:nvPr/>
            </p14:nvContentPartPr>
            <p14:xfrm>
              <a:off x="15017209" y="5340494"/>
              <a:ext cx="23090" cy="23090"/>
            </p14:xfrm>
          </p:contentPart>
        </mc:Choice>
        <mc:Fallback xmlns="">
          <p:pic>
            <p:nvPicPr>
              <p:cNvPr id="14" name="Рукописный ввод 13"/>
            </p:nvPicPr>
            <p:blipFill>
              <a:blip r:embed="rId3"/>
            </p:blipFill>
            <p:spPr>
              <a:xfrm>
                <a:off x="15017209" y="5340494"/>
                <a:ext cx="23090" cy="23090"/>
              </a:xfrm>
              <a:prstGeom prst="rect"/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r:id="rId4" p14:bwMode="auto">
            <p14:nvContentPartPr>
              <p14:cNvPr id="15" name="Рукописный ввод 14"/>
              <p14:cNvContentPartPr/>
              <p14:nvPr/>
            </p14:nvContentPartPr>
            <p14:xfrm>
              <a:off x="13929591" y="4855585"/>
              <a:ext cx="23090" cy="23090"/>
            </p14:xfrm>
          </p:contentPart>
        </mc:Choice>
        <mc:Fallback xmlns="">
          <p:pic>
            <p:nvPicPr>
              <p:cNvPr id="15" name="Рукописный ввод 14"/>
            </p:nvPicPr>
            <p:blipFill>
              <a:blip r:embed="rId3"/>
            </p:blipFill>
            <p:spPr>
              <a:xfrm>
                <a:off x="13929591" y="4855585"/>
                <a:ext cx="23090" cy="23090"/>
              </a:xfrm>
              <a:prstGeom prst="rect"/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r:id="rId5" p14:bwMode="auto">
            <p14:nvContentPartPr>
              <p14:cNvPr id="16" name="Рукописный ввод 15"/>
              <p14:cNvContentPartPr/>
              <p14:nvPr/>
            </p14:nvContentPartPr>
            <p14:xfrm>
              <a:off x="13929591" y="4855585"/>
              <a:ext cx="23090" cy="23090"/>
            </p14:xfrm>
          </p:contentPart>
        </mc:Choice>
        <mc:Fallback xmlns="">
          <p:pic>
            <p:nvPicPr>
              <p:cNvPr id="16" name="Рукописный ввод 15"/>
            </p:nvPicPr>
            <p:blipFill>
              <a:blip r:embed="rId3"/>
            </p:blipFill>
            <p:spPr>
              <a:xfrm>
                <a:off x="13929591" y="4855585"/>
                <a:ext cx="23090" cy="23090"/>
              </a:xfrm>
              <a:prstGeom prst="rect"/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r:id="rId6" p14:bwMode="auto">
            <p14:nvContentPartPr>
              <p14:cNvPr id="17" name="Рукописный ввод 16"/>
              <p14:cNvContentPartPr/>
              <p14:nvPr/>
            </p14:nvContentPartPr>
            <p14:xfrm>
              <a:off x="13195643" y="3091205"/>
              <a:ext cx="23090" cy="23090"/>
            </p14:xfrm>
          </p:contentPart>
        </mc:Choice>
        <mc:Fallback xmlns="">
          <p:pic>
            <p:nvPicPr>
              <p:cNvPr id="17" name="Рукописный ввод 16"/>
            </p:nvPicPr>
            <p:blipFill>
              <a:blip r:embed="rId3"/>
            </p:blipFill>
            <p:spPr>
              <a:xfrm>
                <a:off x="13195643" y="3091205"/>
                <a:ext cx="23090" cy="23090"/>
              </a:xfrm>
              <a:prstGeom prst="rect"/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r:id="rId7" p14:bwMode="auto">
            <p14:nvContentPartPr>
              <p14:cNvPr id="19" name="Рукописный ввод 18"/>
              <p14:cNvContentPartPr/>
              <p14:nvPr/>
            </p14:nvContentPartPr>
            <p14:xfrm>
              <a:off x="8772381" y="3538682"/>
              <a:ext cx="23090" cy="23090"/>
            </p14:xfrm>
          </p:contentPart>
        </mc:Choice>
        <mc:Fallback xmlns="">
          <p:pic>
            <p:nvPicPr>
              <p:cNvPr id="19" name="Рукописный ввод 18"/>
            </p:nvPicPr>
            <p:blipFill>
              <a:blip r:embed="rId3"/>
            </p:blipFill>
            <p:spPr>
              <a:xfrm>
                <a:off x="8772381" y="3538682"/>
                <a:ext cx="23090" cy="23090"/>
              </a:xfrm>
              <a:prstGeom prst="rect"/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r:id="rId8" p14:bwMode="auto">
            <p14:nvContentPartPr>
              <p14:cNvPr id="21" name="Рукописный ввод 20"/>
              <p14:cNvContentPartPr/>
              <p14:nvPr/>
            </p14:nvContentPartPr>
            <p14:xfrm>
              <a:off x="14402594" y="4500562"/>
              <a:ext cx="23090" cy="23090"/>
            </p14:xfrm>
          </p:contentPart>
        </mc:Choice>
        <mc:Fallback xmlns="">
          <p:pic>
            <p:nvPicPr>
              <p:cNvPr id="21" name="Рукописный ввод 20"/>
            </p:nvPicPr>
            <p:blipFill>
              <a:blip r:embed="rId3"/>
            </p:blipFill>
            <p:spPr>
              <a:xfrm>
                <a:off x="14402594" y="4500562"/>
                <a:ext cx="23090" cy="23090"/>
              </a:xfrm>
              <a:prstGeom prst="rect"/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r:id="rId9" p14:bwMode="auto">
            <p14:nvContentPartPr>
              <p14:cNvPr id="23" name="Рукописный ввод 22"/>
              <p14:cNvContentPartPr/>
              <p14:nvPr/>
            </p14:nvContentPartPr>
            <p14:xfrm>
              <a:off x="14402594" y="4500562"/>
              <a:ext cx="23090" cy="23090"/>
            </p14:xfrm>
          </p:contentPart>
        </mc:Choice>
        <mc:Fallback xmlns="">
          <p:pic>
            <p:nvPicPr>
              <p:cNvPr id="23" name="Рукописный ввод 22"/>
            </p:nvPicPr>
            <p:blipFill>
              <a:blip r:embed="rId3"/>
            </p:blipFill>
            <p:spPr>
              <a:xfrm>
                <a:off x="14402594" y="4500562"/>
                <a:ext cx="23090" cy="23090"/>
              </a:xfrm>
              <a:prstGeom prst="rect"/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r:id="rId10" p14:bwMode="auto">
            <p14:nvContentPartPr>
              <p14:cNvPr id="24" name="Рукописный ввод 23"/>
              <p14:cNvContentPartPr/>
              <p14:nvPr/>
            </p14:nvContentPartPr>
            <p14:xfrm>
              <a:off x="14402594" y="4500562"/>
              <a:ext cx="23090" cy="23090"/>
            </p14:xfrm>
          </p:contentPart>
        </mc:Choice>
        <mc:Fallback xmlns="">
          <p:pic>
            <p:nvPicPr>
              <p:cNvPr id="24" name="Рукописный ввод 23"/>
            </p:nvPicPr>
            <p:blipFill>
              <a:blip r:embed="rId3"/>
            </p:blipFill>
            <p:spPr>
              <a:xfrm>
                <a:off x="14402594" y="4500562"/>
                <a:ext cx="23090" cy="23090"/>
              </a:xfrm>
              <a:prstGeom prst="rect"/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r:id="rId11" p14:bwMode="auto">
            <p14:nvContentPartPr>
              <p14:cNvPr id="25" name="Рукописный ввод 24"/>
              <p14:cNvContentPartPr/>
              <p14:nvPr/>
            </p14:nvContentPartPr>
            <p14:xfrm>
              <a:off x="14402594" y="4500562"/>
              <a:ext cx="23090" cy="23090"/>
            </p14:xfrm>
          </p:contentPart>
        </mc:Choice>
        <mc:Fallback xmlns="">
          <p:pic>
            <p:nvPicPr>
              <p:cNvPr id="25" name="Рукописный ввод 24"/>
            </p:nvPicPr>
            <p:blipFill>
              <a:blip r:embed="rId3"/>
            </p:blipFill>
            <p:spPr>
              <a:xfrm>
                <a:off x="14402594" y="4500562"/>
                <a:ext cx="23090" cy="23090"/>
              </a:xfrm>
              <a:prstGeom prst="rect"/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r:id="rId12" p14:bwMode="auto">
            <p14:nvContentPartPr>
              <p14:cNvPr id="26" name="Рукописный ввод 25"/>
              <p14:cNvContentPartPr/>
              <p14:nvPr/>
            </p14:nvContentPartPr>
            <p14:xfrm>
              <a:off x="14402594" y="4500562"/>
              <a:ext cx="23090" cy="23090"/>
            </p14:xfrm>
          </p:contentPart>
        </mc:Choice>
        <mc:Fallback xmlns="">
          <p:pic>
            <p:nvPicPr>
              <p:cNvPr id="26" name="Рукописный ввод 25"/>
            </p:nvPicPr>
            <p:blipFill>
              <a:blip r:embed="rId3"/>
            </p:blipFill>
            <p:spPr>
              <a:xfrm>
                <a:off x="14402594" y="4500562"/>
                <a:ext cx="23090" cy="23090"/>
              </a:xfrm>
              <a:prstGeom prst="rect"/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r:id="rId13" p14:bwMode="auto">
            <p14:nvContentPartPr>
              <p14:cNvPr id="27" name="Рукописный ввод 26"/>
              <p14:cNvContentPartPr/>
              <p14:nvPr/>
            </p14:nvContentPartPr>
            <p14:xfrm>
              <a:off x="1910412" y="7787950"/>
              <a:ext cx="23090" cy="23090"/>
            </p14:xfrm>
          </p:contentPart>
        </mc:Choice>
        <mc:Fallback xmlns="">
          <p:pic>
            <p:nvPicPr>
              <p:cNvPr id="27" name="Рукописный ввод 26"/>
            </p:nvPicPr>
            <p:blipFill>
              <a:blip r:embed="rId3"/>
            </p:blipFill>
            <p:spPr>
              <a:xfrm>
                <a:off x="1910412" y="7787950"/>
                <a:ext cx="23090" cy="23090"/>
              </a:xfrm>
              <a:prstGeom prst="rect"/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r:id="rId14" p14:bwMode="auto">
            <p14:nvContentPartPr>
              <p14:cNvPr id="28" name="Рукописный ввод 27"/>
              <p14:cNvContentPartPr/>
              <p14:nvPr/>
            </p14:nvContentPartPr>
            <p14:xfrm>
              <a:off x="12192271" y="7688551"/>
              <a:ext cx="23090" cy="23090"/>
            </p14:xfrm>
          </p:contentPart>
        </mc:Choice>
        <mc:Fallback xmlns="">
          <p:pic>
            <p:nvPicPr>
              <p:cNvPr id="28" name="Рукописный ввод 27"/>
            </p:nvPicPr>
            <p:blipFill>
              <a:blip r:embed="rId15"/>
            </p:blipFill>
            <p:spPr>
              <a:xfrm>
                <a:off x="12192271" y="7688551"/>
                <a:ext cx="23090" cy="23090"/>
              </a:xfrm>
              <a:prstGeom prst="rect"/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r:id="rId16" p14:bwMode="auto">
            <p14:nvContentPartPr>
              <p14:cNvPr id="29" name="Рукописный ввод 28"/>
              <p14:cNvContentPartPr/>
              <p14:nvPr/>
            </p14:nvContentPartPr>
            <p14:xfrm>
              <a:off x="14326917" y="3407713"/>
              <a:ext cx="23090" cy="23090"/>
            </p14:xfrm>
          </p:contentPart>
        </mc:Choice>
        <mc:Fallback xmlns="">
          <p:pic>
            <p:nvPicPr>
              <p:cNvPr id="29" name="Рукописный ввод 28"/>
            </p:nvPicPr>
            <p:blipFill>
              <a:blip r:embed="rId17"/>
            </p:blipFill>
            <p:spPr>
              <a:xfrm>
                <a:off x="14326917" y="3407713"/>
                <a:ext cx="23090" cy="23090"/>
              </a:xfrm>
              <a:prstGeom prst="rect"/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r:id="rId18" p14:bwMode="auto">
            <p14:nvContentPartPr>
              <p14:cNvPr id="30" name="Рукописный ввод 29"/>
              <p14:cNvContentPartPr/>
              <p14:nvPr/>
            </p14:nvContentPartPr>
            <p14:xfrm>
              <a:off x="14326917" y="3410509"/>
              <a:ext cx="23090" cy="23090"/>
            </p14:xfrm>
          </p:contentPart>
        </mc:Choice>
        <mc:Fallback xmlns="">
          <p:pic>
            <p:nvPicPr>
              <p:cNvPr id="30" name="Рукописный ввод 29"/>
            </p:nvPicPr>
            <p:blipFill>
              <a:blip r:embed="rId3"/>
            </p:blipFill>
            <p:spPr>
              <a:xfrm>
                <a:off x="14326917" y="3410509"/>
                <a:ext cx="23090" cy="23090"/>
              </a:xfrm>
              <a:prstGeom prst="rect"/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r:id="rId19" p14:bwMode="auto">
            <p14:nvContentPartPr>
              <p14:cNvPr id="31" name="Рукописный ввод 30"/>
              <p14:cNvContentPartPr/>
              <p14:nvPr/>
            </p14:nvContentPartPr>
            <p14:xfrm>
              <a:off x="14326917" y="3410509"/>
              <a:ext cx="23090" cy="23090"/>
            </p14:xfrm>
          </p:contentPart>
        </mc:Choice>
        <mc:Fallback xmlns="">
          <p:pic>
            <p:nvPicPr>
              <p:cNvPr id="31" name="Рукописный ввод 30"/>
            </p:nvPicPr>
            <p:blipFill>
              <a:blip r:embed="rId3"/>
            </p:blipFill>
            <p:spPr>
              <a:xfrm>
                <a:off x="14326917" y="3410509"/>
                <a:ext cx="23090" cy="23090"/>
              </a:xfrm>
              <a:prstGeom prst="rect"/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r:id="rId20" p14:bwMode="auto">
            <p14:nvContentPartPr>
              <p14:cNvPr id="33" name="Рукописный ввод 32"/>
              <p14:cNvContentPartPr/>
              <p14:nvPr/>
            </p14:nvContentPartPr>
            <p14:xfrm>
              <a:off x="14202984" y="4108829"/>
              <a:ext cx="23090" cy="23090"/>
            </p14:xfrm>
          </p:contentPart>
        </mc:Choice>
        <mc:Fallback xmlns="">
          <p:pic>
            <p:nvPicPr>
              <p:cNvPr id="33" name="Рукописный ввод 32"/>
            </p:nvPicPr>
            <p:blipFill>
              <a:blip r:embed="rId21"/>
            </p:blipFill>
            <p:spPr>
              <a:xfrm>
                <a:off x="14202984" y="4108829"/>
                <a:ext cx="23090" cy="23090"/>
              </a:xfrm>
              <a:prstGeom prst="rect"/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r:id="rId22" p14:bwMode="auto">
            <p14:nvContentPartPr>
              <p14:cNvPr id="34" name="Рукописный ввод 33"/>
              <p14:cNvContentPartPr/>
              <p14:nvPr/>
            </p14:nvContentPartPr>
            <p14:xfrm>
              <a:off x="14205780" y="4111625"/>
              <a:ext cx="23090" cy="23090"/>
            </p14:xfrm>
          </p:contentPart>
        </mc:Choice>
        <mc:Fallback xmlns="">
          <p:pic>
            <p:nvPicPr>
              <p:cNvPr id="34" name="Рукописный ввод 33"/>
            </p:nvPicPr>
            <p:blipFill>
              <a:blip r:embed="rId3"/>
            </p:blipFill>
            <p:spPr>
              <a:xfrm>
                <a:off x="14205780" y="4111625"/>
                <a:ext cx="23090" cy="23090"/>
              </a:xfrm>
              <a:prstGeom prst="rect"/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r:id="rId23" p14:bwMode="auto">
            <p14:nvContentPartPr>
              <p14:cNvPr id="35" name="Рукописный ввод 34"/>
              <p14:cNvContentPartPr/>
              <p14:nvPr/>
            </p14:nvContentPartPr>
            <p14:xfrm>
              <a:off x="14205780" y="4111625"/>
              <a:ext cx="23090" cy="23090"/>
            </p14:xfrm>
          </p:contentPart>
        </mc:Choice>
        <mc:Fallback xmlns="">
          <p:pic>
            <p:nvPicPr>
              <p:cNvPr id="35" name="Рукописный ввод 34"/>
            </p:nvPicPr>
            <p:blipFill>
              <a:blip r:embed="rId3"/>
            </p:blipFill>
            <p:spPr>
              <a:xfrm>
                <a:off x="14205780" y="4111625"/>
                <a:ext cx="23090" cy="23090"/>
              </a:xfrm>
              <a:prstGeom prst="rect"/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r:id="rId24" p14:bwMode="auto">
            <p14:nvContentPartPr>
              <p14:cNvPr id="36" name="Рукописный ввод 35"/>
              <p14:cNvContentPartPr/>
              <p14:nvPr/>
            </p14:nvContentPartPr>
            <p14:xfrm>
              <a:off x="14205780" y="4111625"/>
              <a:ext cx="23090" cy="23090"/>
            </p14:xfrm>
          </p:contentPart>
        </mc:Choice>
        <mc:Fallback xmlns="">
          <p:pic>
            <p:nvPicPr>
              <p:cNvPr id="36" name="Рукописный ввод 35"/>
            </p:nvPicPr>
            <p:blipFill>
              <a:blip r:embed="rId3"/>
            </p:blipFill>
            <p:spPr>
              <a:xfrm>
                <a:off x="14205780" y="4111625"/>
                <a:ext cx="23090" cy="23090"/>
              </a:xfrm>
              <a:prstGeom prst="rect"/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r:id="rId25" p14:bwMode="auto">
            <p14:nvContentPartPr>
              <p14:cNvPr id="37" name="Рукописный ввод 36"/>
              <p14:cNvContentPartPr/>
              <p14:nvPr/>
            </p14:nvContentPartPr>
            <p14:xfrm>
              <a:off x="13970992" y="1102140"/>
              <a:ext cx="23090" cy="23090"/>
            </p14:xfrm>
          </p:contentPart>
        </mc:Choice>
        <mc:Fallback xmlns="">
          <p:pic>
            <p:nvPicPr>
              <p:cNvPr id="37" name="Рукописный ввод 36"/>
            </p:nvPicPr>
            <p:blipFill>
              <a:blip r:embed="rId3"/>
            </p:blipFill>
            <p:spPr>
              <a:xfrm>
                <a:off x="13970992" y="1102140"/>
                <a:ext cx="23090" cy="23090"/>
              </a:xfrm>
              <a:prstGeom prst="rect"/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r:id="rId26" p14:bwMode="auto">
            <p14:nvContentPartPr>
              <p14:cNvPr id="38" name="Рукописный ввод 37"/>
              <p14:cNvContentPartPr/>
              <p14:nvPr/>
            </p14:nvContentPartPr>
            <p14:xfrm>
              <a:off x="13851388" y="1661914"/>
              <a:ext cx="23090" cy="23090"/>
            </p14:xfrm>
          </p:contentPart>
        </mc:Choice>
        <mc:Fallback xmlns="">
          <p:pic>
            <p:nvPicPr>
              <p:cNvPr id="38" name="Рукописный ввод 37"/>
            </p:nvPicPr>
            <p:blipFill>
              <a:blip r:embed="rId3"/>
            </p:blipFill>
            <p:spPr>
              <a:xfrm>
                <a:off x="13851388" y="1661914"/>
                <a:ext cx="23090" cy="23090"/>
              </a:xfrm>
              <a:prstGeom prst="rect"/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r:id="rId27" p14:bwMode="auto">
            <p14:nvContentPartPr>
              <p14:cNvPr id="39" name="Рукописный ввод 38"/>
              <p14:cNvContentPartPr/>
              <p14:nvPr/>
            </p14:nvContentPartPr>
            <p14:xfrm>
              <a:off x="13844714" y="1970935"/>
              <a:ext cx="23090" cy="23090"/>
            </p14:xfrm>
          </p:contentPart>
        </mc:Choice>
        <mc:Fallback xmlns="">
          <p:pic>
            <p:nvPicPr>
              <p:cNvPr id="39" name="Рукописный ввод 38"/>
            </p:nvPicPr>
            <p:blipFill>
              <a:blip r:embed="rId3"/>
            </p:blipFill>
            <p:spPr>
              <a:xfrm>
                <a:off x="13844714" y="1970935"/>
                <a:ext cx="23090" cy="23090"/>
              </a:xfrm>
              <a:prstGeom prst="rect"/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r:id="rId28" p14:bwMode="auto">
            <p14:nvContentPartPr>
              <p14:cNvPr id="40" name="Рукописный ввод 39"/>
              <p14:cNvContentPartPr/>
              <p14:nvPr/>
            </p14:nvContentPartPr>
            <p14:xfrm>
              <a:off x="14152021" y="1970935"/>
              <a:ext cx="23090" cy="23090"/>
            </p14:xfrm>
          </p:contentPart>
        </mc:Choice>
        <mc:Fallback xmlns="">
          <p:pic>
            <p:nvPicPr>
              <p:cNvPr id="40" name="Рукописный ввод 39"/>
            </p:nvPicPr>
            <p:blipFill>
              <a:blip r:embed="rId3"/>
            </p:blipFill>
            <p:spPr>
              <a:xfrm>
                <a:off x="14152021" y="1970935"/>
                <a:ext cx="23090" cy="23090"/>
              </a:xfrm>
              <a:prstGeom prst="rect"/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r:id="rId29" p14:bwMode="auto">
            <p14:nvContentPartPr>
              <p14:cNvPr id="41" name="Рукописный ввод 40"/>
              <p14:cNvContentPartPr/>
              <p14:nvPr/>
            </p14:nvContentPartPr>
            <p14:xfrm>
              <a:off x="14629173" y="1436417"/>
              <a:ext cx="23090" cy="23090"/>
            </p14:xfrm>
          </p:contentPart>
        </mc:Choice>
        <mc:Fallback xmlns="">
          <p:pic>
            <p:nvPicPr>
              <p:cNvPr id="41" name="Рукописный ввод 40"/>
            </p:nvPicPr>
            <p:blipFill>
              <a:blip r:embed="rId17"/>
            </p:blipFill>
            <p:spPr>
              <a:xfrm>
                <a:off x="14629173" y="1436417"/>
                <a:ext cx="23090" cy="23090"/>
              </a:xfrm>
              <a:prstGeom prst="rect"/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r:id="rId30" p14:bwMode="auto">
            <p14:nvContentPartPr>
              <p14:cNvPr id="42" name="Рукописный ввод 41"/>
              <p14:cNvContentPartPr/>
              <p14:nvPr/>
            </p14:nvContentPartPr>
            <p14:xfrm>
              <a:off x="14724874" y="2616940"/>
              <a:ext cx="23090" cy="23090"/>
            </p14:xfrm>
          </p:contentPart>
        </mc:Choice>
        <mc:Fallback xmlns="">
          <p:pic>
            <p:nvPicPr>
              <p:cNvPr id="42" name="Рукописный ввод 41"/>
            </p:nvPicPr>
            <p:blipFill>
              <a:blip r:embed="rId3"/>
            </p:blipFill>
            <p:spPr>
              <a:xfrm>
                <a:off x="14724874" y="2616940"/>
                <a:ext cx="23090" cy="23090"/>
              </a:xfrm>
              <a:prstGeom prst="rect"/>
            </p:spPr>
          </p:pic>
        </mc:Fallback>
      </mc:AlternateContent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l5Tzv1alcps.jpg"/>
          <p:cNvPicPr>
            <a:picLocks noGrp="1" noChangeAspect="1"/>
          </p:cNvPicPr>
          <p:nvPr>
            <p:ph type="pic" idx="2"/>
          </p:nvPr>
        </p:nvPicPr>
        <p:blipFill>
          <a:blip r:embed="rId1"/>
          <a:srcRect l="20370" r="20370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69184" y="2885490"/>
            <a:ext cx="7489429" cy="5892750"/>
          </a:xfrm>
        </p:spPr>
        <p:txBody>
          <a:bodyPr/>
          <a:lstStyle/>
          <a:p>
            <a:pPr>
              <a:defRPr sz="3600">
                <a:latin typeface="Calibri"/>
              </a:defRPr>
            </a:pPr>
            <a:r>
              <a:rPr sz="3200" dirty="0">
                <a:cs typeface="Calibri"/>
              </a:rPr>
              <a:t>Основные цели:</a:t>
            </a:r>
            <a:endParaRPr lang="ru-RU" sz="3200">
              <a:cs typeface="Calibri"/>
            </a:endParaRPr>
          </a:p>
          <a:p>
            <a:pPr>
              <a:defRPr sz="3600">
                <a:latin typeface="Calibri"/>
              </a:defRPr>
            </a:pPr>
            <a:r>
              <a:rPr sz="3200" err="1">
                <a:cs typeface="Calibri"/>
              </a:rPr>
              <a:t>Структура</a:t>
            </a:r>
            <a:r>
              <a:rPr sz="3200" dirty="0">
                <a:cs typeface="Calibri"/>
              </a:rPr>
              <a:t> — </a:t>
            </a:r>
            <a:r>
              <a:rPr sz="3200" err="1">
                <a:cs typeface="Calibri"/>
              </a:rPr>
              <a:t>логичная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организация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системы</a:t>
            </a:r>
            <a:r>
              <a:rPr sz="3200" dirty="0">
                <a:cs typeface="Calibri"/>
              </a:rPr>
              <a:t>.</a:t>
            </a:r>
            <a:endParaRPr sz="3200" dirty="0">
              <a:cs typeface="Calibri"/>
            </a:endParaRPr>
          </a:p>
          <a:p>
            <a:pPr>
              <a:defRPr sz="3600">
                <a:latin typeface="Calibri"/>
              </a:defRPr>
            </a:pPr>
            <a:r>
              <a:rPr sz="3200" err="1">
                <a:cs typeface="Calibri"/>
              </a:rPr>
              <a:t>Масштабируемость</a:t>
            </a:r>
            <a:r>
              <a:rPr sz="3200" dirty="0">
                <a:cs typeface="Calibri"/>
              </a:rPr>
              <a:t> — </a:t>
            </a:r>
            <a:r>
              <a:rPr sz="3200" err="1">
                <a:cs typeface="Calibri"/>
              </a:rPr>
              <a:t>способность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справляться</a:t>
            </a:r>
            <a:r>
              <a:rPr sz="3200" dirty="0">
                <a:cs typeface="Calibri"/>
              </a:rPr>
              <a:t> с </a:t>
            </a:r>
            <a:r>
              <a:rPr sz="3200" err="1">
                <a:cs typeface="Calibri"/>
              </a:rPr>
              <a:t>увеличивающимися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нагрузками</a:t>
            </a:r>
            <a:r>
              <a:rPr sz="3200" dirty="0">
                <a:cs typeface="Calibri"/>
              </a:rPr>
              <a:t>.</a:t>
            </a:r>
            <a:endParaRPr sz="3200" dirty="0">
              <a:cs typeface="Calibri"/>
            </a:endParaRPr>
          </a:p>
          <a:p>
            <a:pPr>
              <a:defRPr sz="3600">
                <a:latin typeface="Calibri"/>
              </a:defRPr>
            </a:pPr>
            <a:r>
              <a:rPr sz="3200" err="1">
                <a:cs typeface="Calibri"/>
              </a:rPr>
              <a:t>Поддерживаемость</a:t>
            </a:r>
            <a:r>
              <a:rPr sz="3200" dirty="0">
                <a:cs typeface="Calibri"/>
              </a:rPr>
              <a:t> — </a:t>
            </a:r>
            <a:r>
              <a:rPr sz="3200" err="1">
                <a:cs typeface="Calibri"/>
              </a:rPr>
              <a:t>упрощение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обновлений</a:t>
            </a:r>
            <a:r>
              <a:rPr sz="3200" dirty="0">
                <a:cs typeface="Calibri"/>
              </a:rPr>
              <a:t> и </a:t>
            </a:r>
            <a:r>
              <a:rPr sz="3200" err="1">
                <a:cs typeface="Calibri"/>
              </a:rPr>
              <a:t>исправлений</a:t>
            </a:r>
            <a:r>
              <a:rPr sz="3200" dirty="0">
                <a:cs typeface="Calibri"/>
              </a:rPr>
              <a:t>.</a:t>
            </a:r>
            <a:endParaRPr sz="3200" dirty="0">
              <a:cs typeface="Calibri"/>
            </a:endParaRPr>
          </a:p>
          <a:p>
            <a:pPr>
              <a:defRPr sz="3600">
                <a:latin typeface="Calibri"/>
              </a:defRPr>
            </a:pPr>
            <a:r>
              <a:rPr sz="3200" err="1">
                <a:cs typeface="Calibri"/>
              </a:rPr>
              <a:t>Четко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определенные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цели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направляют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проектирование</a:t>
            </a:r>
            <a:r>
              <a:rPr sz="3200" dirty="0">
                <a:cs typeface="Calibri"/>
              </a:rPr>
              <a:t>, </a:t>
            </a:r>
            <a:r>
              <a:rPr sz="3200" err="1">
                <a:cs typeface="Calibri"/>
              </a:rPr>
              <a:t>обеспечивая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соответствие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системы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требованиям</a:t>
            </a:r>
            <a:r>
              <a:rPr sz="3200" dirty="0">
                <a:cs typeface="Calibri"/>
              </a:rPr>
              <a:t>.</a:t>
            </a:r>
            <a:endParaRPr sz="3200" dirty="0">
              <a:cs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879496" y="636142"/>
            <a:ext cx="7489429" cy="1444675"/>
          </a:xfrm>
        </p:spPr>
        <p:txBody>
          <a:bodyPr>
            <a:normAutofit fontScale="90000"/>
          </a:bodyPr>
          <a:lstStyle/>
          <a:p>
            <a:pPr>
              <a:defRPr sz="4600">
                <a:solidFill>
                  <a:srgbClr val="006400"/>
                </a:solidFill>
                <a:latin typeface="Calibri"/>
              </a:defRPr>
            </a:pPr>
            <a:r>
              <a:t>Цели архитектуры программного обеспечения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solidFill>
            <a:srgbClr val="006400"/>
          </a:solidFill>
        </p:spPr>
        <p:txBody>
          <a:bodyPr/>
          <a:lstStyle/>
          <a:p/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zKGGN4-E5Tw.jpg"/>
          <p:cNvPicPr>
            <a:picLocks noGrp="1" noChangeAspect="1"/>
          </p:cNvPicPr>
          <p:nvPr>
            <p:ph type="pic" idx="2"/>
          </p:nvPr>
        </p:nvPicPr>
        <p:blipFill>
          <a:blip r:embed="rId1"/>
          <a:srcRect t="12477" b="12477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17907" y="2723478"/>
            <a:ext cx="7529186" cy="5871882"/>
          </a:xfrm>
        </p:spPr>
        <p:txBody>
          <a:bodyPr spcFirstLastPara="1" wrap="square" lIns="0" tIns="91425" rIns="91425" bIns="91425" anchor="t" anchorCtr="0">
            <a:noAutofit/>
          </a:bodyPr>
          <a:lstStyle/>
          <a:p>
            <a:pPr>
              <a:defRPr sz="3600">
                <a:latin typeface="Calibri"/>
              </a:defRPr>
            </a:pPr>
            <a:r>
              <a:rPr sz="3200" dirty="0">
                <a:cs typeface="Calibri"/>
              </a:rPr>
              <a:t>Модули: независимые функциональные единицы.</a:t>
            </a:r>
            <a:endParaRPr lang="ru-RU" sz="3200" dirty="0">
              <a:cs typeface="Calibri"/>
            </a:endParaRPr>
          </a:p>
          <a:p>
            <a:pPr>
              <a:defRPr sz="3600">
                <a:latin typeface="Calibri"/>
              </a:defRPr>
            </a:pPr>
            <a:r>
              <a:rPr sz="3200" err="1">
                <a:cs typeface="Calibri"/>
              </a:rPr>
              <a:t>Слои</a:t>
            </a:r>
            <a:r>
              <a:rPr sz="3200" dirty="0">
                <a:cs typeface="Calibri"/>
              </a:rPr>
              <a:t>: </a:t>
            </a:r>
            <a:r>
              <a:rPr sz="3200" err="1">
                <a:cs typeface="Calibri"/>
              </a:rPr>
              <a:t>разделение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ответственности</a:t>
            </a:r>
            <a:r>
              <a:rPr sz="3200" dirty="0">
                <a:cs typeface="Calibri"/>
              </a:rPr>
              <a:t> (</a:t>
            </a:r>
            <a:r>
              <a:rPr sz="3200" err="1">
                <a:cs typeface="Calibri"/>
              </a:rPr>
              <a:t>представление</a:t>
            </a:r>
            <a:r>
              <a:rPr sz="3200" dirty="0">
                <a:cs typeface="Calibri"/>
              </a:rPr>
              <a:t>, </a:t>
            </a:r>
            <a:r>
              <a:rPr sz="3200" err="1">
                <a:cs typeface="Calibri"/>
              </a:rPr>
              <a:t>логика</a:t>
            </a:r>
            <a:r>
              <a:rPr sz="3200" dirty="0">
                <a:cs typeface="Calibri"/>
              </a:rPr>
              <a:t>, </a:t>
            </a:r>
            <a:r>
              <a:rPr sz="3200" err="1">
                <a:cs typeface="Calibri"/>
              </a:rPr>
              <a:t>данные</a:t>
            </a:r>
            <a:r>
              <a:rPr sz="3200" dirty="0">
                <a:cs typeface="Calibri"/>
              </a:rPr>
              <a:t>).</a:t>
            </a:r>
            <a:endParaRPr sz="3200" dirty="0">
              <a:cs typeface="Calibri"/>
            </a:endParaRPr>
          </a:p>
          <a:p>
            <a:pPr>
              <a:defRPr sz="3600">
                <a:latin typeface="Calibri"/>
              </a:defRPr>
            </a:pPr>
            <a:r>
              <a:rPr sz="3200" err="1">
                <a:cs typeface="Calibri"/>
              </a:rPr>
              <a:t>Каналы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связи</a:t>
            </a:r>
            <a:r>
              <a:rPr sz="3200" dirty="0">
                <a:cs typeface="Calibri"/>
              </a:rPr>
              <a:t>: </a:t>
            </a:r>
            <a:r>
              <a:rPr sz="3200" err="1">
                <a:cs typeface="Calibri"/>
              </a:rPr>
              <a:t>взаимодействие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между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компонентами</a:t>
            </a:r>
            <a:r>
              <a:rPr sz="3200" dirty="0">
                <a:cs typeface="Calibri"/>
              </a:rPr>
              <a:t> (API, </a:t>
            </a:r>
            <a:r>
              <a:rPr sz="3200" err="1">
                <a:cs typeface="Calibri"/>
              </a:rPr>
              <a:t>брокеры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сообщений</a:t>
            </a:r>
            <a:r>
              <a:rPr sz="3200" dirty="0">
                <a:cs typeface="Calibri"/>
              </a:rPr>
              <a:t>).</a:t>
            </a:r>
            <a:endParaRPr sz="3200" dirty="0">
              <a:cs typeface="Calibri"/>
            </a:endParaRPr>
          </a:p>
          <a:p>
            <a:pPr>
              <a:defRPr sz="3600">
                <a:latin typeface="Calibri"/>
              </a:defRPr>
            </a:pPr>
            <a:r>
              <a:rPr sz="3200" err="1">
                <a:cs typeface="Calibri"/>
              </a:rPr>
              <a:t>Зависимости</a:t>
            </a:r>
            <a:r>
              <a:rPr sz="3200" dirty="0">
                <a:cs typeface="Calibri"/>
              </a:rPr>
              <a:t>: </a:t>
            </a:r>
            <a:r>
              <a:rPr sz="3200" err="1">
                <a:cs typeface="Calibri"/>
              </a:rPr>
              <a:t>отношения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между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компонентами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для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правильного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функционирования</a:t>
            </a:r>
            <a:r>
              <a:rPr sz="3200" dirty="0">
                <a:cs typeface="Calibri"/>
              </a:rPr>
              <a:t>.</a:t>
            </a:r>
            <a:endParaRPr sz="3200" dirty="0">
              <a:cs typeface="Calibri"/>
            </a:endParaRPr>
          </a:p>
          <a:p>
            <a:pPr>
              <a:defRPr sz="3600">
                <a:latin typeface="Calibri"/>
              </a:defRPr>
            </a:pPr>
            <a:r>
              <a:rPr sz="3200" err="1">
                <a:cs typeface="Calibri"/>
              </a:rPr>
              <a:t>Пример</a:t>
            </a:r>
            <a:r>
              <a:rPr sz="3200" dirty="0">
                <a:cs typeface="Calibri"/>
              </a:rPr>
              <a:t>: в </a:t>
            </a:r>
            <a:r>
              <a:rPr sz="3200" err="1">
                <a:cs typeface="Calibri"/>
              </a:rPr>
              <a:t>веб-приложении</a:t>
            </a:r>
            <a:r>
              <a:rPr sz="3200" dirty="0">
                <a:cs typeface="Calibri"/>
              </a:rPr>
              <a:t> — </a:t>
            </a:r>
            <a:r>
              <a:rPr sz="3200" err="1">
                <a:cs typeface="Calibri"/>
              </a:rPr>
              <a:t>интерфейс</a:t>
            </a:r>
            <a:r>
              <a:rPr sz="3200" dirty="0">
                <a:cs typeface="Calibri"/>
              </a:rPr>
              <a:t>, API и </a:t>
            </a:r>
            <a:r>
              <a:rPr sz="3200" err="1">
                <a:cs typeface="Calibri"/>
              </a:rPr>
              <a:t>база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данных</a:t>
            </a:r>
            <a:r>
              <a:rPr sz="3200" dirty="0">
                <a:cs typeface="Calibri"/>
              </a:rPr>
              <a:t>.</a:t>
            </a:r>
            <a:endParaRPr sz="3200" dirty="0">
              <a:cs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09435" y="636143"/>
            <a:ext cx="7529186" cy="1465542"/>
          </a:xfrm>
        </p:spPr>
        <p:txBody>
          <a:bodyPr>
            <a:normAutofit fontScale="90000"/>
          </a:bodyPr>
          <a:lstStyle/>
          <a:p>
            <a:pPr>
              <a:defRPr sz="4600">
                <a:solidFill>
                  <a:srgbClr val="006400"/>
                </a:solidFill>
                <a:latin typeface="Calibri"/>
              </a:defRPr>
            </a:pPr>
            <a:r>
              <a:t>Основные компоненты архитектуры ПО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r:id="rId2" p14:bwMode="auto">
            <p14:nvContentPartPr>
              <p14:cNvPr id="9" name="Рукописный ввод 8"/>
              <p14:cNvContentPartPr/>
              <p14:nvPr/>
            </p14:nvContentPartPr>
            <p14:xfrm>
              <a:off x="1868519" y="6279141"/>
              <a:ext cx="18287" cy="18287"/>
            </p14:xfrm>
          </p:contentPart>
        </mc:Choice>
        <mc:Fallback xmlns="">
          <p:pic>
            <p:nvPicPr>
              <p:cNvPr id="9" name="Рукописный ввод 8"/>
            </p:nvPicPr>
            <p:blipFill>
              <a:blip r:embed="rId3"/>
            </p:blipFill>
            <p:spPr>
              <a:xfrm>
                <a:off x="1868519" y="6279141"/>
                <a:ext cx="18287" cy="18287"/>
              </a:xfrm>
              <a:prstGeom prst="rect"/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r:id="rId4" p14:bwMode="auto">
            <p14:nvContentPartPr>
              <p14:cNvPr id="10" name="Рукописный ввод 9"/>
              <p14:cNvContentPartPr/>
              <p14:nvPr/>
            </p14:nvContentPartPr>
            <p14:xfrm>
              <a:off x="717178" y="9708379"/>
              <a:ext cx="2266952" cy="166257"/>
            </p14:xfrm>
          </p:contentPart>
        </mc:Choice>
        <mc:Fallback xmlns="">
          <p:pic>
            <p:nvPicPr>
              <p:cNvPr id="10" name="Рукописный ввод 9"/>
            </p:nvPicPr>
            <p:blipFill>
              <a:blip r:embed="rId5"/>
            </p:blipFill>
            <p:spPr>
              <a:xfrm>
                <a:off x="717178" y="9708379"/>
                <a:ext cx="2266952" cy="166257"/>
              </a:xfrm>
              <a:prstGeom prst="rect"/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r:id="rId6" p14:bwMode="auto">
            <p14:nvContentPartPr>
              <p14:cNvPr id="11" name="Рукописный ввод 10"/>
              <p14:cNvContentPartPr/>
              <p14:nvPr/>
            </p14:nvContentPartPr>
            <p14:xfrm>
              <a:off x="2100569" y="9760602"/>
              <a:ext cx="1090229" cy="104742"/>
            </p14:xfrm>
          </p:contentPart>
        </mc:Choice>
        <mc:Fallback xmlns="">
          <p:pic>
            <p:nvPicPr>
              <p:cNvPr id="11" name="Рукописный ввод 10"/>
            </p:nvPicPr>
            <p:blipFill>
              <a:blip r:embed="rId7"/>
            </p:blipFill>
            <p:spPr>
              <a:xfrm>
                <a:off x="2100569" y="9760602"/>
                <a:ext cx="1090229" cy="104742"/>
              </a:xfrm>
              <a:prstGeom prst="rect"/>
            </p:spPr>
          </p:pic>
        </mc:Fallback>
      </mc:AlternateContent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w9OdWfCoiw0.jpg"/>
          <p:cNvPicPr>
            <a:picLocks noGrp="1" noChangeAspect="1"/>
          </p:cNvPicPr>
          <p:nvPr>
            <p:ph type="pic" idx="2"/>
          </p:nvPr>
        </p:nvPicPr>
        <p:blipFill>
          <a:blip r:embed="rId1"/>
          <a:srcRect l="20370" r="20370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51480" y="2885490"/>
            <a:ext cx="7489429" cy="5892750"/>
          </a:xfrm>
        </p:spPr>
        <p:txBody>
          <a:bodyPr>
            <a:normAutofit/>
          </a:bodyPr>
          <a:lstStyle/>
          <a:p>
            <a:pPr>
              <a:defRPr sz="3600">
                <a:latin typeface="Calibri"/>
              </a:defRPr>
            </a:pPr>
            <a:r>
              <a:rPr sz="3200" dirty="0">
                <a:cs typeface="Calibri"/>
              </a:rPr>
              <a:t>Архитектурные шаблоны — решения для общих архитектурных задач.</a:t>
            </a:r>
            <a:endParaRPr lang="ru-RU" sz="3200" dirty="0">
              <a:cs typeface="Calibri"/>
            </a:endParaRPr>
          </a:p>
          <a:p>
            <a:pPr>
              <a:defRPr sz="3600">
                <a:latin typeface="Calibri"/>
              </a:defRPr>
            </a:pPr>
            <a:r>
              <a:rPr sz="3200" err="1">
                <a:cs typeface="Calibri"/>
              </a:rPr>
              <a:t>Преимущества</a:t>
            </a:r>
            <a:r>
              <a:rPr sz="3200" dirty="0">
                <a:cs typeface="Calibri"/>
              </a:rPr>
              <a:t>:</a:t>
            </a:r>
            <a:endParaRPr sz="3200" dirty="0">
              <a:cs typeface="Calibri"/>
            </a:endParaRPr>
          </a:p>
          <a:p>
            <a:pPr>
              <a:defRPr sz="3600">
                <a:latin typeface="Calibri"/>
              </a:defRPr>
            </a:pPr>
            <a:r>
              <a:rPr sz="3200" err="1">
                <a:cs typeface="Calibri"/>
              </a:rPr>
              <a:t>Улучшение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согласованности</a:t>
            </a:r>
            <a:r>
              <a:rPr sz="3200" dirty="0">
                <a:cs typeface="Calibri"/>
              </a:rPr>
              <a:t> и </a:t>
            </a:r>
            <a:r>
              <a:rPr sz="3200" err="1">
                <a:cs typeface="Calibri"/>
              </a:rPr>
              <a:t>масштабируемости</a:t>
            </a:r>
            <a:r>
              <a:rPr sz="3200" dirty="0">
                <a:cs typeface="Calibri"/>
              </a:rPr>
              <a:t>, </a:t>
            </a:r>
            <a:r>
              <a:rPr sz="3200" err="1">
                <a:cs typeface="Calibri"/>
              </a:rPr>
              <a:t>повышение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безопасности</a:t>
            </a:r>
            <a:r>
              <a:rPr sz="3200" dirty="0">
                <a:cs typeface="Calibri"/>
              </a:rPr>
              <a:t>.</a:t>
            </a:r>
            <a:endParaRPr sz="3200" dirty="0">
              <a:cs typeface="Calibri"/>
            </a:endParaRPr>
          </a:p>
          <a:p>
            <a:pPr>
              <a:defRPr sz="3600">
                <a:latin typeface="Calibri"/>
              </a:defRPr>
            </a:pPr>
            <a:r>
              <a:rPr sz="3200" err="1">
                <a:cs typeface="Calibri"/>
              </a:rPr>
              <a:t>Сокращение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времени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разработки</a:t>
            </a:r>
            <a:r>
              <a:rPr sz="3200" dirty="0">
                <a:cs typeface="Calibri"/>
              </a:rPr>
              <a:t>.</a:t>
            </a:r>
            <a:endParaRPr sz="3200" dirty="0">
              <a:cs typeface="Calibri"/>
            </a:endParaRPr>
          </a:p>
          <a:p>
            <a:pPr>
              <a:defRPr sz="3600">
                <a:latin typeface="Calibri"/>
              </a:defRPr>
            </a:pPr>
            <a:r>
              <a:rPr sz="3200" err="1">
                <a:cs typeface="Calibri"/>
              </a:rPr>
              <a:t>Примеры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использования</a:t>
            </a:r>
            <a:r>
              <a:rPr sz="3200" dirty="0">
                <a:cs typeface="Calibri"/>
              </a:rPr>
              <a:t>: </a:t>
            </a:r>
            <a:r>
              <a:rPr sz="3200" err="1">
                <a:cs typeface="Calibri"/>
              </a:rPr>
              <a:t>микросервисы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для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масштабируемости</a:t>
            </a:r>
            <a:r>
              <a:rPr sz="3200" dirty="0">
                <a:cs typeface="Calibri"/>
              </a:rPr>
              <a:t>, </a:t>
            </a:r>
            <a:r>
              <a:rPr sz="3200" err="1">
                <a:cs typeface="Calibri"/>
              </a:rPr>
              <a:t>событийная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архитектура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для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приложений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реального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времени</a:t>
            </a:r>
            <a:r>
              <a:rPr sz="3200" dirty="0">
                <a:cs typeface="Calibri"/>
              </a:rPr>
              <a:t>.</a:t>
            </a:r>
            <a:endParaRPr sz="3200" dirty="0">
              <a:cs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888640" y="800734"/>
            <a:ext cx="7489429" cy="1444675"/>
          </a:xfrm>
        </p:spPr>
        <p:txBody>
          <a:bodyPr>
            <a:normAutofit fontScale="90000"/>
          </a:bodyPr>
          <a:lstStyle/>
          <a:p>
            <a:pPr>
              <a:defRPr sz="4600">
                <a:solidFill>
                  <a:srgbClr val="006400"/>
                </a:solidFill>
                <a:latin typeface="Calibri"/>
              </a:defRPr>
            </a:pPr>
            <a:r>
              <a:t>Обзор архитектурных шаблонов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solidFill>
            <a:srgbClr val="006400"/>
          </a:solidFill>
        </p:spPr>
        <p:txBody>
          <a:bodyPr/>
          <a:lstStyle/>
          <a:p/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362803" y="476631"/>
            <a:ext cx="5562243" cy="876859"/>
          </a:xfrm>
        </p:spPr>
        <p:txBody>
          <a:bodyPr>
            <a:normAutofit fontScale="90000"/>
          </a:bodyPr>
          <a:lstStyle/>
          <a:p>
            <a:pPr>
              <a:defRPr sz="4600">
                <a:solidFill>
                  <a:srgbClr val="006400"/>
                </a:solidFill>
                <a:latin typeface="Calibri"/>
              </a:defRPr>
            </a:pPr>
            <a:r>
              <a:rPr dirty="0" err="1"/>
              <a:t>Типы</a:t>
            </a:r>
            <a:r>
              <a:rPr dirty="0"/>
              <a:t> </a:t>
            </a:r>
            <a:r>
              <a:rPr dirty="0" err="1"/>
              <a:t>Архитектур</a:t>
            </a:r>
            <a:r>
              <a:rPr dirty="0"/>
              <a:t> ПО</a:t>
            </a:r>
            <a:endParaRPr dirty="0"/>
          </a:p>
        </p:txBody>
      </p:sp>
      <p:pic>
        <p:nvPicPr>
          <p:cNvPr id="25" name="Рисунок 24" descr="Изображение выглядит как строительство, небоскреб, на открытом воздухе, отражение&#10;&#10;Автоматически созданное описание"/>
          <p:cNvPicPr>
            <a:picLocks noGrp="1" noChangeAspect="1"/>
          </p:cNvPicPr>
          <p:nvPr>
            <p:ph type="pic" idx="3"/>
          </p:nvPr>
        </p:nvPicPr>
        <p:blipFill>
          <a:blip r:embed="rId1"/>
          <a:srcRect t="16628" b="16628"/>
          <a:stretch>
            <a:fillRect/>
          </a:stretch>
        </p:blipFill>
        <p:spPr>
          <a:xfrm>
            <a:off x="1806031" y="2568234"/>
            <a:ext cx="1774136" cy="2661204"/>
          </a:xfrm>
        </p:spPr>
      </p:pic>
      <p:pic>
        <p:nvPicPr>
          <p:cNvPr id="27" name="Рисунок 26" descr="Изображение выглядит как строительство, небоскреб, на открытом воздухе, отражение&#10;&#10;Автоматически созданное описание"/>
          <p:cNvPicPr>
            <a:picLocks noChangeAspect="1"/>
          </p:cNvPicPr>
          <p:nvPr/>
        </p:nvPicPr>
        <p:blipFill>
          <a:blip r:embed="rId1"/>
          <a:srcRect t="16628" b="16628"/>
          <a:stretch>
            <a:fillRect/>
          </a:stretch>
        </p:blipFill>
        <p:spPr>
          <a:xfrm>
            <a:off x="14709908" y="2573653"/>
            <a:ext cx="1774136" cy="2661204"/>
          </a:xfrm>
          <a:prstGeom prst="rect">
            <a:avLst/>
          </a:prstGeom>
          <a:noFill/>
          <a:ln>
            <a:noFill/>
          </a:ln>
        </p:spPr>
      </p:pic>
      <p:pic>
        <p:nvPicPr>
          <p:cNvPr id="29" name="Рисунок 28" descr="Изображение выглядит как строительство, небоскреб, на открытом воздухе, отражение&#10;&#10;Автоматически созданное описание"/>
          <p:cNvPicPr>
            <a:picLocks noChangeAspect="1"/>
          </p:cNvPicPr>
          <p:nvPr/>
        </p:nvPicPr>
        <p:blipFill>
          <a:blip r:embed="rId1"/>
          <a:srcRect t="16628" b="16628"/>
          <a:stretch>
            <a:fillRect/>
          </a:stretch>
        </p:blipFill>
        <p:spPr>
          <a:xfrm>
            <a:off x="9956383" y="2571282"/>
            <a:ext cx="1774136" cy="2661204"/>
          </a:xfrm>
          <a:prstGeom prst="rect">
            <a:avLst/>
          </a:prstGeom>
          <a:noFill/>
          <a:ln>
            <a:noFill/>
          </a:ln>
        </p:spPr>
      </p:pic>
      <p:pic>
        <p:nvPicPr>
          <p:cNvPr id="31" name="Рисунок 30" descr="Изображение выглядит как строительство, небоскреб, на открытом воздухе, отражение&#10;&#10;Автоматически созданное описание"/>
          <p:cNvPicPr>
            <a:picLocks noChangeAspect="1"/>
          </p:cNvPicPr>
          <p:nvPr/>
        </p:nvPicPr>
        <p:blipFill>
          <a:blip r:embed="rId1"/>
          <a:srcRect t="16628" b="16628"/>
          <a:stretch>
            <a:fillRect/>
          </a:stretch>
        </p:blipFill>
        <p:spPr>
          <a:xfrm>
            <a:off x="5829052" y="2568234"/>
            <a:ext cx="1774136" cy="2661204"/>
          </a:xfrm>
          <a:prstGeom prst="rect">
            <a:avLst/>
          </a:prstGeom>
          <a:noFill/>
          <a:ln>
            <a:noFill/>
          </a:ln>
        </p:spPr>
      </p:pic>
      <p:sp>
        <p:nvSpPr>
          <p:cNvPr id="32" name="TextBox 31"/>
          <p:cNvSpPr txBox="1"/>
          <p:nvPr/>
        </p:nvSpPr>
        <p:spPr>
          <a:xfrm>
            <a:off x="1464733" y="5744634"/>
            <a:ext cx="2743200" cy="310854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spAutoFit/>
          </a:bodyPr>
          <a:lstStyle/>
          <a:p>
            <a:pPr marL="342900" indent="-342900">
              <a:buChar char="•"/>
            </a:pPr>
            <a:r>
              <a:rPr lang="en-US" sz="2800" err="1"/>
              <a:t>Монолитная</a:t>
            </a:r>
            <a:r>
              <a:rPr lang="en-US" sz="2800" dirty="0"/>
              <a:t> </a:t>
            </a:r>
            <a:r>
              <a:rPr lang="en-US" sz="2800" err="1"/>
              <a:t>Архитектура</a:t>
            </a:r>
            <a:r>
              <a:rPr lang="en-US" sz="2800" dirty="0"/>
              <a:t>: </a:t>
            </a:r>
            <a:r>
              <a:rPr lang="en-US" sz="2800" err="1"/>
              <a:t>простота</a:t>
            </a:r>
            <a:r>
              <a:rPr lang="en-US" sz="2800" dirty="0"/>
              <a:t> </a:t>
            </a:r>
            <a:r>
              <a:rPr lang="en-US" sz="2800" err="1"/>
              <a:t>разработки</a:t>
            </a:r>
            <a:r>
              <a:rPr lang="en-US" sz="2800" dirty="0"/>
              <a:t>, </a:t>
            </a:r>
            <a:r>
              <a:rPr lang="en-US" sz="2800" err="1"/>
              <a:t>но</a:t>
            </a:r>
            <a:r>
              <a:rPr lang="en-US" sz="2800" dirty="0"/>
              <a:t> </a:t>
            </a:r>
            <a:r>
              <a:rPr lang="en-US" sz="2800" err="1"/>
              <a:t>трудности</a:t>
            </a:r>
            <a:r>
              <a:rPr lang="en-US" sz="2800" dirty="0"/>
              <a:t> </a:t>
            </a:r>
            <a:r>
              <a:rPr lang="en-US" sz="2800" err="1"/>
              <a:t>масштабирования</a:t>
            </a:r>
            <a:r>
              <a:rPr lang="en-US" sz="2800" dirty="0"/>
              <a:t>. </a:t>
            </a:r>
            <a:endParaRPr lang="ru-RU" sz="2800"/>
          </a:p>
        </p:txBody>
      </p:sp>
      <p:sp>
        <p:nvSpPr>
          <p:cNvPr id="33" name="TextBox 32"/>
          <p:cNvSpPr txBox="1"/>
          <p:nvPr/>
        </p:nvSpPr>
        <p:spPr>
          <a:xfrm>
            <a:off x="5664200" y="5744634"/>
            <a:ext cx="2743200" cy="310854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spAutoFit/>
          </a:bodyPr>
          <a:lstStyle/>
          <a:p>
            <a:pPr marL="285750" indent="-285750">
              <a:buChar char="•"/>
            </a:pPr>
            <a:r>
              <a:rPr lang="en-US" sz="2800" err="1"/>
              <a:t>Клиент-Серверная</a:t>
            </a:r>
            <a:r>
              <a:rPr lang="en-US" sz="2800" dirty="0"/>
              <a:t> </a:t>
            </a:r>
            <a:r>
              <a:rPr lang="en-US" sz="2800" err="1"/>
              <a:t>Архитектура</a:t>
            </a:r>
            <a:r>
              <a:rPr lang="en-US" sz="2800"/>
              <a:t>: </a:t>
            </a:r>
            <a:r>
              <a:rPr lang="en-US" sz="2800" err="1"/>
              <a:t>клиент</a:t>
            </a:r>
            <a:r>
              <a:rPr lang="en-US" sz="2800"/>
              <a:t> и </a:t>
            </a:r>
            <a:r>
              <a:rPr lang="en-US" sz="2800" err="1"/>
              <a:t>сервер</a:t>
            </a:r>
            <a:r>
              <a:rPr lang="en-US" sz="2800" dirty="0"/>
              <a:t> </a:t>
            </a:r>
            <a:r>
              <a:rPr lang="en-US" sz="2800" err="1"/>
              <a:t>обрабатывают</a:t>
            </a:r>
            <a:r>
              <a:rPr lang="en-US" sz="2800" dirty="0"/>
              <a:t> </a:t>
            </a:r>
            <a:r>
              <a:rPr lang="en-US" sz="2800" err="1"/>
              <a:t>запросы</a:t>
            </a:r>
            <a:r>
              <a:rPr lang="en-US" sz="2800"/>
              <a:t>. </a:t>
            </a:r>
            <a:endParaRPr lang="ru-RU" sz="2800"/>
          </a:p>
        </p:txBody>
      </p:sp>
      <p:sp>
        <p:nvSpPr>
          <p:cNvPr id="34" name="TextBox 33"/>
          <p:cNvSpPr txBox="1"/>
          <p:nvPr/>
        </p:nvSpPr>
        <p:spPr>
          <a:xfrm>
            <a:off x="9347199" y="5744634"/>
            <a:ext cx="3801533" cy="267765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spAutoFit/>
          </a:bodyPr>
          <a:lstStyle/>
          <a:p>
            <a:pPr marL="285750" indent="-285750">
              <a:buChar char="•"/>
            </a:pPr>
            <a:r>
              <a:rPr lang="en-US" sz="2800" err="1"/>
              <a:t>Сервис-ориентированная</a:t>
            </a:r>
            <a:r>
              <a:rPr lang="en-US" sz="2800" dirty="0"/>
              <a:t> </a:t>
            </a:r>
            <a:r>
              <a:rPr lang="en-US" sz="2800" err="1"/>
              <a:t>архитектура</a:t>
            </a:r>
            <a:r>
              <a:rPr lang="en-US" sz="2800" dirty="0"/>
              <a:t> </a:t>
            </a:r>
            <a:r>
              <a:rPr lang="en-US" sz="2800"/>
              <a:t>(SOA): </a:t>
            </a:r>
            <a:r>
              <a:rPr lang="en-US" sz="2800" err="1"/>
              <a:t>независимые</a:t>
            </a:r>
            <a:r>
              <a:rPr lang="en-US" sz="2800" dirty="0"/>
              <a:t> </a:t>
            </a:r>
            <a:r>
              <a:rPr lang="en-US" sz="2800" err="1"/>
              <a:t>сервисы</a:t>
            </a:r>
            <a:r>
              <a:rPr lang="en-US" sz="2800" dirty="0"/>
              <a:t> </a:t>
            </a:r>
            <a:r>
              <a:rPr lang="en-US" sz="2800" err="1"/>
              <a:t>через</a:t>
            </a:r>
            <a:r>
              <a:rPr lang="en-US" sz="2800"/>
              <a:t> API </a:t>
            </a:r>
            <a:r>
              <a:rPr lang="en-US" sz="2800" err="1"/>
              <a:t>или</a:t>
            </a:r>
            <a:r>
              <a:rPr lang="en-US" sz="2800" dirty="0"/>
              <a:t> </a:t>
            </a:r>
            <a:r>
              <a:rPr lang="en-US" sz="2800" err="1"/>
              <a:t>сообщения</a:t>
            </a:r>
            <a:r>
              <a:rPr lang="en-US" sz="2800"/>
              <a:t>. </a:t>
            </a:r>
            <a:endParaRPr lang="ru-RU" sz="2800"/>
          </a:p>
        </p:txBody>
      </p:sp>
      <p:sp>
        <p:nvSpPr>
          <p:cNvPr id="35" name="TextBox 34"/>
          <p:cNvSpPr txBox="1"/>
          <p:nvPr/>
        </p:nvSpPr>
        <p:spPr>
          <a:xfrm>
            <a:off x="13885333" y="5744633"/>
            <a:ext cx="3420533" cy="267765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spAutoFit/>
          </a:bodyPr>
          <a:lstStyle/>
          <a:p>
            <a:pPr marL="457200" indent="-457200">
              <a:buChar char="•"/>
            </a:pPr>
            <a:r>
              <a:rPr lang="en-US" sz="2800" err="1"/>
              <a:t>Микросервисная</a:t>
            </a:r>
            <a:r>
              <a:rPr lang="en-US" sz="2800" dirty="0"/>
              <a:t> </a:t>
            </a:r>
            <a:r>
              <a:rPr lang="en-US" sz="2800" err="1"/>
              <a:t>Архитектура</a:t>
            </a:r>
            <a:r>
              <a:rPr lang="en-US" sz="2800" dirty="0"/>
              <a:t>: </a:t>
            </a:r>
            <a:r>
              <a:rPr lang="en-US" sz="2800" err="1"/>
              <a:t>независимые</a:t>
            </a:r>
            <a:r>
              <a:rPr lang="en-US" sz="2800" dirty="0"/>
              <a:t> </a:t>
            </a:r>
            <a:r>
              <a:rPr lang="en-US" sz="2800" err="1"/>
              <a:t>компоненты</a:t>
            </a:r>
            <a:r>
              <a:rPr lang="en-US" sz="2800" dirty="0"/>
              <a:t> с </a:t>
            </a:r>
            <a:r>
              <a:rPr lang="en-US" sz="2800" err="1"/>
              <a:t>конкретной</a:t>
            </a:r>
            <a:r>
              <a:rPr lang="en-US" sz="2800" dirty="0"/>
              <a:t> </a:t>
            </a:r>
            <a:r>
              <a:rPr lang="en-US" sz="2800" err="1"/>
              <a:t>функцией</a:t>
            </a:r>
            <a:r>
              <a:rPr lang="en-US" sz="2800" dirty="0"/>
              <a:t>. </a:t>
            </a:r>
            <a:endParaRPr lang="ru-RU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Sc5RKXLBjGg.jpg"/>
          <p:cNvPicPr>
            <a:picLocks noGrp="1" noChangeAspect="1"/>
          </p:cNvPicPr>
          <p:nvPr>
            <p:ph type="pic" idx="2"/>
          </p:nvPr>
        </p:nvPicPr>
        <p:blipFill>
          <a:blip r:embed="rId1"/>
          <a:srcRect l="20370" r="20370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81496" y="2574450"/>
            <a:ext cx="7489429" cy="5892750"/>
          </a:xfrm>
        </p:spPr>
        <p:txBody>
          <a:bodyPr>
            <a:normAutofit fontScale="92500" lnSpcReduction="10000"/>
          </a:bodyPr>
          <a:lstStyle/>
          <a:p>
            <a:pPr>
              <a:defRPr sz="3600">
                <a:latin typeface="Calibri"/>
              </a:defRPr>
            </a:pPr>
            <a:r>
              <a:t>Описание: разделение системы на слои с определенными обязанностями (представление, логика, данные).</a:t>
            </a:r>
          </a:p>
          <a:p>
            <a:pPr>
              <a:defRPr sz="3600">
                <a:latin typeface="Calibri"/>
              </a:defRPr>
            </a:pPr>
            <a:r>
              <a:t>Примеры: веб-приложения с уровнями интерфейса, логики, базы данных.</a:t>
            </a:r>
          </a:p>
          <a:p>
            <a:pPr>
              <a:defRPr sz="3600">
                <a:latin typeface="Calibri"/>
              </a:defRPr>
            </a:pPr>
            <a:r>
              <a:t>Преимущества: разделение ответственности, упрощение тестирования.</a:t>
            </a:r>
          </a:p>
          <a:p>
            <a:pPr>
              <a:defRPr sz="3600">
                <a:latin typeface="Calibri"/>
              </a:defRPr>
            </a:pPr>
            <a:r>
              <a:t>Ограничения: возможные узкие места в производительности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681496" y="562774"/>
            <a:ext cx="7489429" cy="1444675"/>
          </a:xfrm>
        </p:spPr>
        <p:txBody>
          <a:bodyPr>
            <a:normAutofit fontScale="90000"/>
          </a:bodyPr>
          <a:lstStyle/>
          <a:p>
            <a:pPr>
              <a:defRPr sz="4600">
                <a:solidFill>
                  <a:srgbClr val="006400"/>
                </a:solidFill>
                <a:latin typeface="Calibri"/>
              </a:defRPr>
            </a:pPr>
            <a:r>
              <a:t>Шаблон многослойной архитектуры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solidFill>
            <a:srgbClr val="006400"/>
          </a:solidFill>
        </p:spPr>
        <p:txBody>
          <a:bodyPr/>
          <a:lstStyle/>
          <a:p/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QdAAasrZhdk.jpg"/>
          <p:cNvPicPr>
            <a:picLocks noGrp="1" noChangeAspect="1"/>
          </p:cNvPicPr>
          <p:nvPr>
            <p:ph type="pic" idx="2"/>
          </p:nvPr>
        </p:nvPicPr>
        <p:blipFill>
          <a:blip r:embed="rId1"/>
          <a:srcRect l="20370" r="20370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2075" y="2568318"/>
            <a:ext cx="7529186" cy="5871882"/>
          </a:xfrm>
        </p:spPr>
        <p:txBody>
          <a:bodyPr>
            <a:normAutofit lnSpcReduction="10000"/>
          </a:bodyPr>
          <a:lstStyle/>
          <a:p>
            <a:pPr>
              <a:defRPr sz="3600">
                <a:latin typeface="Calibri"/>
              </a:defRPr>
            </a:pPr>
            <a:r>
              <a:t>Микросервисы: приложение состоит из независимых сервисов.</a:t>
            </a:r>
          </a:p>
          <a:p>
            <a:pPr>
              <a:defRPr sz="3600">
                <a:latin typeface="Calibri"/>
              </a:defRPr>
            </a:pPr>
            <a:r>
              <a:t>Особенности: каждый сервис реализует одну функцию, взаимодействие через HTTP или сообщения.</a:t>
            </a:r>
          </a:p>
          <a:p>
            <a:pPr>
              <a:defRPr sz="3600">
                <a:latin typeface="Calibri"/>
              </a:defRPr>
            </a:pPr>
            <a:r>
              <a:t>Преимущества: поддержка масштабируемости, гибкости.</a:t>
            </a:r>
          </a:p>
          <a:p>
            <a:pPr>
              <a:defRPr sz="3600">
                <a:latin typeface="Calibri"/>
              </a:defRPr>
            </a:pPr>
            <a:r>
              <a:t>Проблемы: сложность в управлении взаимодействиями, согласованность данных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02163" y="634775"/>
            <a:ext cx="7529186" cy="1465542"/>
          </a:xfrm>
        </p:spPr>
        <p:txBody>
          <a:bodyPr/>
          <a:lstStyle/>
          <a:p>
            <a:pPr>
              <a:defRPr sz="4600">
                <a:solidFill>
                  <a:srgbClr val="006400"/>
                </a:solidFill>
                <a:latin typeface="Calibri"/>
              </a:defRPr>
            </a:pPr>
            <a:r>
              <a:t>Архитектура микросервисов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ACt8ycSzpdE.jpg"/>
          <p:cNvPicPr>
            <a:picLocks noGrp="1" noChangeAspect="1"/>
          </p:cNvPicPr>
          <p:nvPr>
            <p:ph type="pic" idx="2"/>
          </p:nvPr>
        </p:nvPicPr>
        <p:blipFill>
          <a:blip r:embed="rId1"/>
          <a:srcRect t="5914" b="5914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79496" y="2871450"/>
            <a:ext cx="7489429" cy="5892750"/>
          </a:xfrm>
        </p:spPr>
        <p:txBody>
          <a:bodyPr/>
          <a:lstStyle/>
          <a:p>
            <a:pPr>
              <a:defRPr sz="3600">
                <a:latin typeface="Calibri"/>
              </a:defRPr>
            </a:pPr>
            <a:r>
              <a:t>Использование событий для взаимодействия между компонентами.</a:t>
            </a:r>
          </a:p>
          <a:p>
            <a:pPr>
              <a:defRPr sz="3600">
                <a:latin typeface="Calibri"/>
              </a:defRPr>
            </a:pPr>
            <a:r>
              <a:t>Основные элементы: производители, потребители и брокеры событий.</a:t>
            </a:r>
          </a:p>
          <a:p>
            <a:pPr>
              <a:defRPr sz="3600">
                <a:latin typeface="Calibri"/>
              </a:defRPr>
            </a:pPr>
            <a:r>
              <a:t>Примеры: системы с необходимостью в реальном времени реагировать на изменения (e-commerce, IoT)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879496" y="562774"/>
            <a:ext cx="7489429" cy="1444675"/>
          </a:xfrm>
        </p:spPr>
        <p:txBody>
          <a:bodyPr>
            <a:normAutofit fontScale="90000"/>
          </a:bodyPr>
          <a:lstStyle/>
          <a:p>
            <a:pPr>
              <a:defRPr sz="4600">
                <a:solidFill>
                  <a:srgbClr val="006400"/>
                </a:solidFill>
                <a:latin typeface="Calibri"/>
              </a:defRPr>
            </a:pPr>
            <a:r>
              <a:t>Событийно-ориентированная архитектура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solidFill>
            <a:srgbClr val="006400"/>
          </a:solidFill>
        </p:spPr>
        <p:txBody>
          <a:bodyPr/>
          <a:lstStyle/>
          <a:p/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JI01fn0U7Cg.jpg"/>
          <p:cNvPicPr>
            <a:picLocks noGrp="1" noChangeAspect="1"/>
          </p:cNvPicPr>
          <p:nvPr>
            <p:ph type="pic" idx="2"/>
          </p:nvPr>
        </p:nvPicPr>
        <p:blipFill>
          <a:blip r:embed="rId1"/>
          <a:srcRect l="20370" r="20370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rPr dirty="0" err="1"/>
              <a:t>Модель</a:t>
            </a:r>
            <a:r>
              <a:rPr dirty="0"/>
              <a:t>, </a:t>
            </a:r>
            <a:r>
              <a:rPr dirty="0" err="1"/>
              <a:t>где</a:t>
            </a:r>
            <a:r>
              <a:rPr dirty="0"/>
              <a:t> </a:t>
            </a:r>
            <a:r>
              <a:rPr dirty="0" err="1"/>
              <a:t>клиент</a:t>
            </a:r>
            <a:r>
              <a:rPr dirty="0"/>
              <a:t> </a:t>
            </a:r>
            <a:r>
              <a:rPr dirty="0" err="1"/>
              <a:t>отправляет</a:t>
            </a:r>
            <a:r>
              <a:rPr dirty="0"/>
              <a:t> </a:t>
            </a:r>
            <a:r>
              <a:rPr dirty="0" err="1"/>
              <a:t>запросы</a:t>
            </a:r>
            <a:r>
              <a:rPr dirty="0"/>
              <a:t> </a:t>
            </a:r>
            <a:r>
              <a:rPr dirty="0" err="1"/>
              <a:t>серверу</a:t>
            </a:r>
            <a:r>
              <a:rPr dirty="0"/>
              <a:t>.</a:t>
            </a:r>
            <a:endParaRPr dirty="0"/>
          </a:p>
          <a:p>
            <a:pPr>
              <a:defRPr sz="3600">
                <a:latin typeface="Calibri"/>
              </a:defRPr>
            </a:pPr>
            <a:r>
              <a:rPr dirty="0" err="1"/>
              <a:t>Преимущества</a:t>
            </a:r>
            <a:r>
              <a:rPr dirty="0"/>
              <a:t>: </a:t>
            </a:r>
            <a:r>
              <a:rPr dirty="0" err="1"/>
              <a:t>централизованное</a:t>
            </a:r>
            <a:r>
              <a:rPr dirty="0"/>
              <a:t> </a:t>
            </a:r>
            <a:r>
              <a:rPr dirty="0" err="1"/>
              <a:t>управление</a:t>
            </a:r>
            <a:r>
              <a:rPr dirty="0"/>
              <a:t> </a:t>
            </a:r>
            <a:r>
              <a:rPr dirty="0" err="1"/>
              <a:t>данными</a:t>
            </a:r>
            <a:r>
              <a:rPr dirty="0"/>
              <a:t>.</a:t>
            </a:r>
            <a:endParaRPr dirty="0"/>
          </a:p>
          <a:p>
            <a:pPr>
              <a:defRPr sz="3600">
                <a:latin typeface="Calibri"/>
              </a:defRPr>
            </a:pPr>
            <a:r>
              <a:rPr dirty="0" err="1"/>
              <a:t>Примеры</a:t>
            </a:r>
            <a:r>
              <a:rPr dirty="0"/>
              <a:t>: </a:t>
            </a:r>
            <a:r>
              <a:rPr dirty="0" err="1"/>
              <a:t>веб-приложения</a:t>
            </a:r>
            <a:r>
              <a:rPr dirty="0"/>
              <a:t>, </a:t>
            </a:r>
            <a:r>
              <a:rPr dirty="0" err="1"/>
              <a:t>где</a:t>
            </a:r>
            <a:r>
              <a:rPr dirty="0"/>
              <a:t> </a:t>
            </a:r>
            <a:r>
              <a:rPr dirty="0" err="1"/>
              <a:t>браузеры</a:t>
            </a:r>
            <a:r>
              <a:rPr dirty="0"/>
              <a:t> </a:t>
            </a:r>
            <a:r>
              <a:rPr dirty="0" err="1"/>
              <a:t>взаимодействуют</a:t>
            </a:r>
            <a:r>
              <a:rPr dirty="0"/>
              <a:t> с </a:t>
            </a:r>
            <a:r>
              <a:rPr dirty="0" err="1"/>
              <a:t>веб-серверами</a:t>
            </a:r>
            <a:r>
              <a:rPr dirty="0"/>
              <a:t>.</a:t>
            </a:r>
            <a:endParaRPr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>
              <a:defRPr sz="4600">
                <a:solidFill>
                  <a:srgbClr val="006400"/>
                </a:solidFill>
                <a:latin typeface="Calibri"/>
              </a:defRPr>
            </a:pPr>
            <a:r>
              <a:rPr dirty="0" err="1"/>
              <a:t>Клиент-серверная</a:t>
            </a:r>
            <a:r>
              <a:rPr dirty="0"/>
              <a:t> </a:t>
            </a:r>
            <a:r>
              <a:rPr dirty="0" err="1"/>
              <a:t>архитектура</a:t>
            </a:r>
            <a:endParaRPr dirty="0" err="1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THINKCELLSHAPEDONOTDELETE" val="thinkcellActiveDocDoNotDelete"/>
</p:tagLst>
</file>

<file path=ppt/tags/tag11.xml><?xml version="1.0" encoding="utf-8"?>
<p:tagLst xmlns:p="http://schemas.openxmlformats.org/presentationml/2006/main">
  <p:tag name="THINKCELLSHAPEDONOTDELETE" val="thinkcellActiveDocDoNotDelete"/>
</p:tagLst>
</file>

<file path=ppt/tags/tag12.xml><?xml version="1.0" encoding="utf-8"?>
<p:tagLst xmlns:p="http://schemas.openxmlformats.org/presentationml/2006/main">
  <p:tag name="THINKCELLSHAPEDONOTDELETE" val="thinkcellActiveDocDoNotDelete"/>
</p:tagLst>
</file>

<file path=ppt/tags/tag13.xml><?xml version="1.0" encoding="utf-8"?>
<p:tagLst xmlns:p="http://schemas.openxmlformats.org/presentationml/2006/main">
  <p:tag name="THINKCELLSHAPEDONOTDELETE" val="thinkcellActiveDocDoNotDelete"/>
</p:tagLst>
</file>

<file path=ppt/tags/tag14.xml><?xml version="1.0" encoding="utf-8"?>
<p:tagLst xmlns:p="http://schemas.openxmlformats.org/presentationml/2006/main">
  <p:tag name="THINKCELLSHAPEDONOTDELETE" val="thinkcellActiveDocDoNotDelete"/>
</p:tagLst>
</file>

<file path=ppt/tags/tag15.xml><?xml version="1.0" encoding="utf-8"?>
<p:tagLst xmlns:p="http://schemas.openxmlformats.org/presentationml/2006/main">
  <p:tag name="THINKCELLSHAPEDONOTDELETE" val="thinkcellActiveDocDoNotDelete"/>
</p:tagLst>
</file>

<file path=ppt/tags/tag16.xml><?xml version="1.0" encoding="utf-8"?>
<p:tagLst xmlns:p="http://schemas.openxmlformats.org/presentationml/2006/main">
  <p:tag name="THINKCELLSHAPEDONOTDELETE" val="thinkcellActiveDocDoNotDelete"/>
</p:tagLst>
</file>

<file path=ppt/tags/tag17.xml><?xml version="1.0" encoding="utf-8"?>
<p:tagLst xmlns:p="http://schemas.openxmlformats.org/presentationml/2006/main">
  <p:tag name="THINKCELLSHAPEDONOTDELETE" val="thinkcellActiveDocDoNotDelete"/>
</p:tagLst>
</file>

<file path=ppt/tags/tag18.xml><?xml version="1.0" encoding="utf-8"?>
<p:tagLst xmlns:p="http://schemas.openxmlformats.org/presentationml/2006/main">
  <p:tag name="THINKCELLSHAPEDONOTDELETE" val="thinkcellActiveDocDoNotDelete"/>
</p:tagLst>
</file>

<file path=ppt/tags/tag19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ags/tag20.xml><?xml version="1.0" encoding="utf-8"?>
<p:tagLst xmlns:p="http://schemas.openxmlformats.org/presentationml/2006/main">
  <p:tag name="THINKCELLSHAPEDONOTDELETE" val="thinkcellActiveDocDoNotDelete"/>
</p:tagLst>
</file>

<file path=ppt/tags/tag21.xml><?xml version="1.0" encoding="utf-8"?>
<p:tagLst xmlns:p="http://schemas.openxmlformats.org/presentationml/2006/main">
  <p:tag name="THINKCELLUNDODONOTDELETE" val="0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THINKCELLSHAPEDONOTDELETE" val="thinkcellActiveDocDoNotDelete"/>
</p:tagLst>
</file>

<file path=ppt/tags/tag5.xml><?xml version="1.0" encoding="utf-8"?>
<p:tagLst xmlns:p="http://schemas.openxmlformats.org/presentationml/2006/main">
  <p:tag name="THINKCELLSHAPEDONOTDELETE" val="thinkcellActiveDocDoNotDelete"/>
</p:tagLst>
</file>

<file path=ppt/tags/tag6.xml><?xml version="1.0" encoding="utf-8"?>
<p:tagLst xmlns:p="http://schemas.openxmlformats.org/presentationml/2006/main">
  <p:tag name="THINKCELLSHAPEDONOTDELETE" val="thinkcellActiveDocDoNotDelete"/>
</p:tagLst>
</file>

<file path=ppt/tags/tag7.xml><?xml version="1.0" encoding="utf-8"?>
<p:tagLst xmlns:p="http://schemas.openxmlformats.org/presentationml/2006/main">
  <p:tag name="THINKCELLSHAPEDONOTDELETE" val="thinkcellActiveDocDoNotDelete"/>
</p:tagLst>
</file>

<file path=ppt/tags/tag8.xml><?xml version="1.0" encoding="utf-8"?>
<p:tagLst xmlns:p="http://schemas.openxmlformats.org/presentationml/2006/main">
  <p:tag name="THINKCELLSHAPEDONOTDELETE" val="thinkcellActiveDocDoNotDelete"/>
</p:tagLst>
</file>

<file path=ppt/tags/tag9.xml><?xml version="1.0" encoding="utf-8"?>
<p:tagLst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mart Slides v1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8500EA"/>
      </a:hlink>
      <a:folHlink>
        <a:srgbClr val="800080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331</Words>
  <Application>WPS Presentation</Application>
  <PresentationFormat>Custom</PresentationFormat>
  <Paragraphs>112</Paragraphs>
  <Slides>16</Slides>
  <Notes>16</Notes>
  <HiddenSlides>0</HiddenSlides>
  <MMClips>0</MMClips>
  <ScaleCrop>false</ScaleCrop>
  <HeadingPairs>
    <vt:vector size="8" baseType="variant">
      <vt:variant>
        <vt:lpstr>已用的字体</vt:lpstr>
      </vt:variant>
      <vt:variant>
        <vt:i4>13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0</vt:i4>
      </vt:variant>
      <vt:variant>
        <vt:lpstr>幻灯片标题</vt:lpstr>
      </vt:variant>
      <vt:variant>
        <vt:i4>16</vt:i4>
      </vt:variant>
    </vt:vector>
  </HeadingPairs>
  <TitlesOfParts>
    <vt:vector size="50" baseType="lpstr">
      <vt:lpstr>Arial</vt:lpstr>
      <vt:lpstr>SimSun</vt:lpstr>
      <vt:lpstr>Wingdings</vt:lpstr>
      <vt:lpstr>Arial</vt:lpstr>
      <vt:lpstr>Calibri</vt:lpstr>
      <vt:lpstr>Helvetica Neue</vt:lpstr>
      <vt:lpstr>Calibri</vt:lpstr>
      <vt:lpstr>Roboto Light</vt:lpstr>
      <vt:lpstr>Thonburi</vt:lpstr>
      <vt:lpstr>Raleway</vt:lpstr>
      <vt:lpstr>Microsoft YaHei</vt:lpstr>
      <vt:lpstr>汉仪旗黑</vt:lpstr>
      <vt:lpstr>Arial Unicode MS</vt:lpstr>
      <vt:lpstr>Smart Slides v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Введение в архитектуру программного обеспечения</vt:lpstr>
      <vt:lpstr>Цели архитектуры программного обеспечения</vt:lpstr>
      <vt:lpstr>Основные компоненты архитектуры ПО</vt:lpstr>
      <vt:lpstr>Обзор архитектурных шаблонов</vt:lpstr>
      <vt:lpstr>Типы Архитектур ПО</vt:lpstr>
      <vt:lpstr>Шаблон многослойной архитектуры</vt:lpstr>
      <vt:lpstr>Архитектура микросервисов</vt:lpstr>
      <vt:lpstr>Событийно-ориентированная архитектура</vt:lpstr>
      <vt:lpstr>Клиент-серверная архитектура</vt:lpstr>
      <vt:lpstr>Атрибуты качества в архитектуре ПО</vt:lpstr>
      <vt:lpstr>Масштабируемость в архитектуре ПО</vt:lpstr>
      <vt:lpstr>Оптимизация производительности в архитектуре ПО</vt:lpstr>
      <vt:lpstr>Проблемы в архитектуре ПО</vt:lpstr>
      <vt:lpstr>Будущие тенденции в архитектуре ПО</vt:lpstr>
      <vt:lpstr>Список литературы</vt:lpstr>
      <vt:lpstr>Спасибо!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mart Slides</dc:title>
  <dc:creator/>
  <cp:lastModifiedBy>mac</cp:lastModifiedBy>
  <cp:revision>250</cp:revision>
  <dcterms:created xsi:type="dcterms:W3CDTF">2024-11-12T19:51:54Z</dcterms:created>
  <dcterms:modified xsi:type="dcterms:W3CDTF">2024-11-12T19:51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1033-5.7.1.8093</vt:lpwstr>
  </property>
</Properties>
</file>